
<file path=[Content_Types].xml><?xml version="1.0" encoding="utf-8"?>
<Types xmlns="http://schemas.openxmlformats.org/package/2006/content-types">
  <Default Extension="png" ContentType="image/png"/>
  <Default Extension="wmf" ContentType="image/x-wmf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5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6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7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autoCompressPictures="0">
  <p:sldMasterIdLst>
    <p:sldMasterId id="2147483679" r:id="rId1"/>
  </p:sldMasterIdLst>
  <p:notesMasterIdLst>
    <p:notesMasterId r:id="rId25"/>
  </p:notesMasterIdLst>
  <p:handoutMasterIdLst>
    <p:handoutMasterId r:id="rId26"/>
  </p:handoutMasterIdLst>
  <p:sldIdLst>
    <p:sldId id="257" r:id="rId2"/>
    <p:sldId id="260" r:id="rId3"/>
    <p:sldId id="261" r:id="rId4"/>
    <p:sldId id="270" r:id="rId5"/>
    <p:sldId id="263" r:id="rId6"/>
    <p:sldId id="272" r:id="rId7"/>
    <p:sldId id="265" r:id="rId8"/>
    <p:sldId id="273" r:id="rId9"/>
    <p:sldId id="274" r:id="rId10"/>
    <p:sldId id="275" r:id="rId11"/>
    <p:sldId id="266" r:id="rId12"/>
    <p:sldId id="282" r:id="rId13"/>
    <p:sldId id="278" r:id="rId14"/>
    <p:sldId id="279" r:id="rId15"/>
    <p:sldId id="268" r:id="rId16"/>
    <p:sldId id="276" r:id="rId17"/>
    <p:sldId id="269" r:id="rId18"/>
    <p:sldId id="271" r:id="rId19"/>
    <p:sldId id="283" r:id="rId20"/>
    <p:sldId id="286" r:id="rId21"/>
    <p:sldId id="285" r:id="rId22"/>
    <p:sldId id="284" r:id="rId23"/>
    <p:sldId id="281" r:id="rId24"/>
  </p:sldIdLst>
  <p:sldSz cx="9144000" cy="6858000" type="screen4x3"/>
  <p:notesSz cx="6669088" cy="9928225"/>
  <p:embeddedFontLst>
    <p:embeddedFont>
      <p:font typeface="Calibri" panose="020F0502020204030204" pitchFamily="34" charset="0"/>
      <p:regular r:id="rId27"/>
      <p:bold r:id="rId28"/>
      <p:italic r:id="rId29"/>
      <p:boldItalic r:id="rId30"/>
    </p:embeddedFont>
    <p:embeddedFont>
      <p:font typeface="Wingdings 3" pitchFamily="2" charset="2"/>
      <p:regular r:id="rId31"/>
    </p:embeddedFont>
  </p:embeddedFont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47">
          <p15:clr>
            <a:srgbClr val="A4A3A4"/>
          </p15:clr>
        </p15:guide>
        <p15:guide id="2" orient="horz" pos="4149">
          <p15:clr>
            <a:srgbClr val="A4A3A4"/>
          </p15:clr>
        </p15:guide>
        <p15:guide id="3" pos="133">
          <p15:clr>
            <a:srgbClr val="A4A3A4"/>
          </p15:clr>
        </p15:guide>
        <p15:guide id="4" pos="12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8">
          <p15:clr>
            <a:srgbClr val="A4A3A4"/>
          </p15:clr>
        </p15:guide>
        <p15:guide id="2" pos="210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ximilian Ueberschaar" initials="MU" lastIdx="3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6A6A6"/>
    <a:srgbClr val="FFF480"/>
    <a:srgbClr val="FFFCA6"/>
    <a:srgbClr val="FF7E79"/>
    <a:srgbClr val="B1E886"/>
    <a:srgbClr val="FF0000"/>
    <a:srgbClr val="97C772"/>
    <a:srgbClr val="0072BA"/>
    <a:srgbClr val="6A8843"/>
    <a:srgbClr val="008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Gitternetz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216" autoAdjust="0"/>
    <p:restoredTop sz="93023" autoAdjust="0"/>
  </p:normalViewPr>
  <p:slideViewPr>
    <p:cSldViewPr>
      <p:cViewPr>
        <p:scale>
          <a:sx n="94" d="100"/>
          <a:sy n="94" d="100"/>
        </p:scale>
        <p:origin x="1848" y="-8"/>
      </p:cViewPr>
      <p:guideLst>
        <p:guide orient="horz" pos="4247"/>
        <p:guide orient="horz" pos="4149"/>
        <p:guide pos="133"/>
        <p:guide pos="12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notesViewPr>
    <p:cSldViewPr>
      <p:cViewPr varScale="1">
        <p:scale>
          <a:sx n="67" d="100"/>
          <a:sy n="67" d="100"/>
        </p:scale>
        <p:origin x="3720" y="176"/>
      </p:cViewPr>
      <p:guideLst>
        <p:guide orient="horz" pos="3128"/>
        <p:guide pos="210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33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font" Target="fonts/font3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font" Target="fonts/font2.fntdata"/><Relationship Id="rId36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font" Target="fonts/font5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font" Target="fonts/font1.fntdata"/><Relationship Id="rId30" Type="http://schemas.openxmlformats.org/officeDocument/2006/relationships/font" Target="fonts/font4.fntdata"/><Relationship Id="rId35" Type="http://schemas.openxmlformats.org/officeDocument/2006/relationships/theme" Target="theme/theme1.xml"/><Relationship Id="rId8" Type="http://schemas.openxmlformats.org/officeDocument/2006/relationships/slide" Target="slides/slide7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/alexandraerfort/Desktop/BA/Excel/Sewage%20sludge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/alexandraerfort/Desktop/BA/Excel/Gu&#776;lle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/alexandraerfort/Desktop/BA/Excel/OxiTop%20Ga&#776;rrest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/alexandraerfort/Desktop/BA/Excel/V-Bestimmung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/alexandraerfort/Desktop/corrected%20volumes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 sz="2000" dirty="0">
                <a:solidFill>
                  <a:schemeClr val="tx1"/>
                </a:solidFill>
              </a:rPr>
              <a:t>Comparison</a:t>
            </a:r>
            <a:r>
              <a:rPr lang="en-US" sz="2000" baseline="0" dirty="0">
                <a:solidFill>
                  <a:schemeClr val="tx1"/>
                </a:solidFill>
              </a:rPr>
              <a:t> Fresh Vs. Stored Sewage Sludge</a:t>
            </a:r>
            <a:endParaRPr lang="en-US" sz="2000" dirty="0">
              <a:solidFill>
                <a:schemeClr val="tx1"/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8.2814634558740177E-2"/>
          <c:y val="0.11705326907855192"/>
          <c:w val="0.68329524952301168"/>
          <c:h val="0.76164512524623718"/>
        </c:manualLayout>
      </c:layout>
      <c:scatterChart>
        <c:scatterStyle val="lineMarker"/>
        <c:varyColors val="0"/>
        <c:ser>
          <c:idx val="0"/>
          <c:order val="0"/>
          <c:tx>
            <c:v>Average Fresh</c:v>
          </c:tx>
          <c:spPr>
            <a:ln w="25400" cap="rnd">
              <a:solidFill>
                <a:srgbClr val="4174BE"/>
              </a:solidFill>
              <a:round/>
            </a:ln>
            <a:effectLst/>
          </c:spPr>
          <c:marker>
            <c:symbol val="none"/>
          </c:marker>
          <c:xVal>
            <c:numRef>
              <c:f>'p average fresh vs. stored'!$A$5:$A$338</c:f>
              <c:numCache>
                <c:formatCode>0</c:formatCode>
                <c:ptCount val="334"/>
                <c:pt idx="0">
                  <c:v>0</c:v>
                </c:pt>
                <c:pt idx="1">
                  <c:v>4.1666666666666664E-2</c:v>
                </c:pt>
                <c:pt idx="2">
                  <c:v>8.3333333333333329E-2</c:v>
                </c:pt>
                <c:pt idx="3">
                  <c:v>0.125</c:v>
                </c:pt>
                <c:pt idx="4">
                  <c:v>0.16666666666666666</c:v>
                </c:pt>
                <c:pt idx="5">
                  <c:v>0.20833333333333334</c:v>
                </c:pt>
                <c:pt idx="6">
                  <c:v>0.25</c:v>
                </c:pt>
                <c:pt idx="7">
                  <c:v>0.29166666666666669</c:v>
                </c:pt>
                <c:pt idx="8">
                  <c:v>0.33333333333333331</c:v>
                </c:pt>
                <c:pt idx="9">
                  <c:v>0.375</c:v>
                </c:pt>
                <c:pt idx="10">
                  <c:v>0.41666666666666669</c:v>
                </c:pt>
                <c:pt idx="11">
                  <c:v>0.45833333333333331</c:v>
                </c:pt>
                <c:pt idx="12">
                  <c:v>0.5</c:v>
                </c:pt>
                <c:pt idx="13">
                  <c:v>0.54166666666666663</c:v>
                </c:pt>
                <c:pt idx="14">
                  <c:v>0.58333333333333337</c:v>
                </c:pt>
                <c:pt idx="15">
                  <c:v>0.625</c:v>
                </c:pt>
                <c:pt idx="16">
                  <c:v>0.66666666666666663</c:v>
                </c:pt>
                <c:pt idx="17">
                  <c:v>0.70833333333333337</c:v>
                </c:pt>
                <c:pt idx="18">
                  <c:v>0.75</c:v>
                </c:pt>
                <c:pt idx="19">
                  <c:v>0.79166666666666663</c:v>
                </c:pt>
                <c:pt idx="20">
                  <c:v>0.83333333333333337</c:v>
                </c:pt>
                <c:pt idx="21">
                  <c:v>0.875</c:v>
                </c:pt>
                <c:pt idx="22">
                  <c:v>0.91666666666666663</c:v>
                </c:pt>
                <c:pt idx="23">
                  <c:v>0.95833333333333337</c:v>
                </c:pt>
                <c:pt idx="24">
                  <c:v>1</c:v>
                </c:pt>
                <c:pt idx="25">
                  <c:v>1.0416666666666667</c:v>
                </c:pt>
                <c:pt idx="26">
                  <c:v>1.0833333333333333</c:v>
                </c:pt>
                <c:pt idx="27">
                  <c:v>1.125</c:v>
                </c:pt>
                <c:pt idx="28">
                  <c:v>1.1666666666666667</c:v>
                </c:pt>
                <c:pt idx="29">
                  <c:v>1.2083333333333333</c:v>
                </c:pt>
                <c:pt idx="30">
                  <c:v>1.25</c:v>
                </c:pt>
                <c:pt idx="31">
                  <c:v>1.2916666666666667</c:v>
                </c:pt>
                <c:pt idx="32">
                  <c:v>1.3333333333333333</c:v>
                </c:pt>
                <c:pt idx="33">
                  <c:v>1.375</c:v>
                </c:pt>
                <c:pt idx="34">
                  <c:v>1.4166666666666667</c:v>
                </c:pt>
                <c:pt idx="35">
                  <c:v>1.4583333333333333</c:v>
                </c:pt>
                <c:pt idx="36">
                  <c:v>1.5</c:v>
                </c:pt>
                <c:pt idx="37">
                  <c:v>1.5416666666666667</c:v>
                </c:pt>
                <c:pt idx="38">
                  <c:v>1.5833333333333333</c:v>
                </c:pt>
                <c:pt idx="39">
                  <c:v>1.625</c:v>
                </c:pt>
                <c:pt idx="40">
                  <c:v>1.6666666666666667</c:v>
                </c:pt>
                <c:pt idx="41">
                  <c:v>1.7083333333333333</c:v>
                </c:pt>
                <c:pt idx="42">
                  <c:v>1.75</c:v>
                </c:pt>
                <c:pt idx="43">
                  <c:v>1.7916666666666667</c:v>
                </c:pt>
                <c:pt idx="44">
                  <c:v>1.8333333333333333</c:v>
                </c:pt>
                <c:pt idx="45">
                  <c:v>1.875</c:v>
                </c:pt>
                <c:pt idx="46">
                  <c:v>1.9166666666666667</c:v>
                </c:pt>
                <c:pt idx="47">
                  <c:v>1.9583333333333333</c:v>
                </c:pt>
                <c:pt idx="48">
                  <c:v>2</c:v>
                </c:pt>
                <c:pt idx="49">
                  <c:v>2.0416666666666665</c:v>
                </c:pt>
                <c:pt idx="50">
                  <c:v>2.0833333333333335</c:v>
                </c:pt>
                <c:pt idx="51">
                  <c:v>2.125</c:v>
                </c:pt>
                <c:pt idx="52">
                  <c:v>2.1666666666666665</c:v>
                </c:pt>
                <c:pt idx="53">
                  <c:v>2.2083333333333335</c:v>
                </c:pt>
                <c:pt idx="54">
                  <c:v>2.25</c:v>
                </c:pt>
                <c:pt idx="55">
                  <c:v>2.2916666666666665</c:v>
                </c:pt>
                <c:pt idx="56">
                  <c:v>2.3333333333333335</c:v>
                </c:pt>
                <c:pt idx="57">
                  <c:v>2.375</c:v>
                </c:pt>
                <c:pt idx="58">
                  <c:v>2.4166666666666665</c:v>
                </c:pt>
                <c:pt idx="59">
                  <c:v>2.4583333333333335</c:v>
                </c:pt>
                <c:pt idx="60">
                  <c:v>2.5</c:v>
                </c:pt>
                <c:pt idx="61">
                  <c:v>2.5416666666666665</c:v>
                </c:pt>
                <c:pt idx="62">
                  <c:v>2.5833333333333335</c:v>
                </c:pt>
                <c:pt idx="63">
                  <c:v>2.625</c:v>
                </c:pt>
                <c:pt idx="64">
                  <c:v>2.6666666666666665</c:v>
                </c:pt>
                <c:pt idx="65">
                  <c:v>2.7083333333333335</c:v>
                </c:pt>
                <c:pt idx="66">
                  <c:v>2.75</c:v>
                </c:pt>
                <c:pt idx="67">
                  <c:v>2.7916666666666665</c:v>
                </c:pt>
                <c:pt idx="68">
                  <c:v>2.8333333333333335</c:v>
                </c:pt>
                <c:pt idx="69">
                  <c:v>2.875</c:v>
                </c:pt>
                <c:pt idx="70">
                  <c:v>2.9166666666666665</c:v>
                </c:pt>
                <c:pt idx="71">
                  <c:v>2.9583333333333335</c:v>
                </c:pt>
                <c:pt idx="72">
                  <c:v>3</c:v>
                </c:pt>
                <c:pt idx="73">
                  <c:v>3.0416666666666665</c:v>
                </c:pt>
                <c:pt idx="74">
                  <c:v>3.0833333333333335</c:v>
                </c:pt>
                <c:pt idx="75">
                  <c:v>3.125</c:v>
                </c:pt>
                <c:pt idx="76">
                  <c:v>3.1666666666666665</c:v>
                </c:pt>
                <c:pt idx="77">
                  <c:v>3.2083333333333335</c:v>
                </c:pt>
                <c:pt idx="78">
                  <c:v>3.25</c:v>
                </c:pt>
                <c:pt idx="79">
                  <c:v>3.2916666666666665</c:v>
                </c:pt>
                <c:pt idx="80">
                  <c:v>3.3333333333333335</c:v>
                </c:pt>
                <c:pt idx="81">
                  <c:v>3.375</c:v>
                </c:pt>
                <c:pt idx="82">
                  <c:v>3.4166666666666665</c:v>
                </c:pt>
                <c:pt idx="83">
                  <c:v>3.4583333333333335</c:v>
                </c:pt>
                <c:pt idx="84">
                  <c:v>3.5</c:v>
                </c:pt>
                <c:pt idx="85">
                  <c:v>3.5416666666666665</c:v>
                </c:pt>
                <c:pt idx="86">
                  <c:v>3.5833333333333335</c:v>
                </c:pt>
                <c:pt idx="87">
                  <c:v>3.625</c:v>
                </c:pt>
                <c:pt idx="88">
                  <c:v>3.6666666666666665</c:v>
                </c:pt>
                <c:pt idx="89">
                  <c:v>3.7083333333333335</c:v>
                </c:pt>
                <c:pt idx="90">
                  <c:v>3.75</c:v>
                </c:pt>
                <c:pt idx="91">
                  <c:v>3.7916666666666665</c:v>
                </c:pt>
                <c:pt idx="92">
                  <c:v>3.8333333333333335</c:v>
                </c:pt>
                <c:pt idx="93">
                  <c:v>3.875</c:v>
                </c:pt>
                <c:pt idx="94">
                  <c:v>3.9166666666666665</c:v>
                </c:pt>
                <c:pt idx="95">
                  <c:v>3.9583333333333335</c:v>
                </c:pt>
                <c:pt idx="96">
                  <c:v>4</c:v>
                </c:pt>
                <c:pt idx="97">
                  <c:v>4.041666666666667</c:v>
                </c:pt>
                <c:pt idx="98">
                  <c:v>4.083333333333333</c:v>
                </c:pt>
                <c:pt idx="99">
                  <c:v>4.125</c:v>
                </c:pt>
                <c:pt idx="100">
                  <c:v>4.166666666666667</c:v>
                </c:pt>
                <c:pt idx="101">
                  <c:v>4.208333333333333</c:v>
                </c:pt>
                <c:pt idx="102">
                  <c:v>4.25</c:v>
                </c:pt>
                <c:pt idx="103">
                  <c:v>4.291666666666667</c:v>
                </c:pt>
                <c:pt idx="104">
                  <c:v>4.333333333333333</c:v>
                </c:pt>
                <c:pt idx="105">
                  <c:v>4.375</c:v>
                </c:pt>
                <c:pt idx="106">
                  <c:v>4.416666666666667</c:v>
                </c:pt>
                <c:pt idx="107">
                  <c:v>4.458333333333333</c:v>
                </c:pt>
                <c:pt idx="108">
                  <c:v>4.5</c:v>
                </c:pt>
                <c:pt idx="109">
                  <c:v>4.541666666666667</c:v>
                </c:pt>
                <c:pt idx="110">
                  <c:v>4.583333333333333</c:v>
                </c:pt>
                <c:pt idx="111">
                  <c:v>4.625</c:v>
                </c:pt>
                <c:pt idx="112">
                  <c:v>4.666666666666667</c:v>
                </c:pt>
                <c:pt idx="113">
                  <c:v>4.708333333333333</c:v>
                </c:pt>
                <c:pt idx="114">
                  <c:v>4.75</c:v>
                </c:pt>
                <c:pt idx="115">
                  <c:v>4.791666666666667</c:v>
                </c:pt>
                <c:pt idx="116">
                  <c:v>4.833333333333333</c:v>
                </c:pt>
                <c:pt idx="117">
                  <c:v>4.875</c:v>
                </c:pt>
                <c:pt idx="118">
                  <c:v>4.916666666666667</c:v>
                </c:pt>
                <c:pt idx="119">
                  <c:v>4.958333333333333</c:v>
                </c:pt>
                <c:pt idx="120">
                  <c:v>5</c:v>
                </c:pt>
                <c:pt idx="121">
                  <c:v>5.041666666666667</c:v>
                </c:pt>
                <c:pt idx="122">
                  <c:v>5.083333333333333</c:v>
                </c:pt>
                <c:pt idx="123">
                  <c:v>5.125</c:v>
                </c:pt>
                <c:pt idx="124">
                  <c:v>5.166666666666667</c:v>
                </c:pt>
                <c:pt idx="125">
                  <c:v>5.208333333333333</c:v>
                </c:pt>
                <c:pt idx="126">
                  <c:v>5.25</c:v>
                </c:pt>
                <c:pt idx="127">
                  <c:v>5.291666666666667</c:v>
                </c:pt>
                <c:pt idx="128">
                  <c:v>5.333333333333333</c:v>
                </c:pt>
                <c:pt idx="129">
                  <c:v>5.375</c:v>
                </c:pt>
                <c:pt idx="130">
                  <c:v>5.416666666666667</c:v>
                </c:pt>
                <c:pt idx="131">
                  <c:v>5.458333333333333</c:v>
                </c:pt>
                <c:pt idx="132">
                  <c:v>5.5</c:v>
                </c:pt>
                <c:pt idx="133">
                  <c:v>5.541666666666667</c:v>
                </c:pt>
                <c:pt idx="134">
                  <c:v>5.583333333333333</c:v>
                </c:pt>
                <c:pt idx="135">
                  <c:v>5.625</c:v>
                </c:pt>
                <c:pt idx="136">
                  <c:v>5.666666666666667</c:v>
                </c:pt>
                <c:pt idx="137">
                  <c:v>5.708333333333333</c:v>
                </c:pt>
                <c:pt idx="138">
                  <c:v>5.75</c:v>
                </c:pt>
                <c:pt idx="139">
                  <c:v>5.791666666666667</c:v>
                </c:pt>
                <c:pt idx="140">
                  <c:v>5.833333333333333</c:v>
                </c:pt>
                <c:pt idx="141">
                  <c:v>5.875</c:v>
                </c:pt>
                <c:pt idx="142">
                  <c:v>5.916666666666667</c:v>
                </c:pt>
                <c:pt idx="143">
                  <c:v>5.958333333333333</c:v>
                </c:pt>
                <c:pt idx="144">
                  <c:v>6</c:v>
                </c:pt>
                <c:pt idx="145">
                  <c:v>6.041666666666667</c:v>
                </c:pt>
                <c:pt idx="146">
                  <c:v>6.083333333333333</c:v>
                </c:pt>
                <c:pt idx="147">
                  <c:v>6.125</c:v>
                </c:pt>
                <c:pt idx="148">
                  <c:v>6.166666666666667</c:v>
                </c:pt>
                <c:pt idx="149">
                  <c:v>6.208333333333333</c:v>
                </c:pt>
                <c:pt idx="150">
                  <c:v>6.25</c:v>
                </c:pt>
                <c:pt idx="151">
                  <c:v>6.291666666666667</c:v>
                </c:pt>
                <c:pt idx="152">
                  <c:v>6.333333333333333</c:v>
                </c:pt>
                <c:pt idx="153">
                  <c:v>6.375</c:v>
                </c:pt>
                <c:pt idx="154">
                  <c:v>6.416666666666667</c:v>
                </c:pt>
                <c:pt idx="155">
                  <c:v>6.458333333333333</c:v>
                </c:pt>
                <c:pt idx="156">
                  <c:v>6.5</c:v>
                </c:pt>
                <c:pt idx="157">
                  <c:v>6.541666666666667</c:v>
                </c:pt>
                <c:pt idx="158">
                  <c:v>6.583333333333333</c:v>
                </c:pt>
                <c:pt idx="159">
                  <c:v>6.625</c:v>
                </c:pt>
                <c:pt idx="160">
                  <c:v>6.666666666666667</c:v>
                </c:pt>
                <c:pt idx="161">
                  <c:v>6.708333333333333</c:v>
                </c:pt>
                <c:pt idx="162">
                  <c:v>6.75</c:v>
                </c:pt>
                <c:pt idx="163">
                  <c:v>6.791666666666667</c:v>
                </c:pt>
                <c:pt idx="164">
                  <c:v>6.833333333333333</c:v>
                </c:pt>
                <c:pt idx="165">
                  <c:v>6.875</c:v>
                </c:pt>
                <c:pt idx="166">
                  <c:v>6.916666666666667</c:v>
                </c:pt>
                <c:pt idx="167">
                  <c:v>6.958333333333333</c:v>
                </c:pt>
                <c:pt idx="168">
                  <c:v>7</c:v>
                </c:pt>
                <c:pt idx="169">
                  <c:v>7.041666666666667</c:v>
                </c:pt>
                <c:pt idx="170">
                  <c:v>7.083333333333333</c:v>
                </c:pt>
                <c:pt idx="171">
                  <c:v>7.125</c:v>
                </c:pt>
                <c:pt idx="172">
                  <c:v>7.166666666666667</c:v>
                </c:pt>
                <c:pt idx="173">
                  <c:v>7.208333333333333</c:v>
                </c:pt>
                <c:pt idx="174">
                  <c:v>7.25</c:v>
                </c:pt>
                <c:pt idx="175">
                  <c:v>7.291666666666667</c:v>
                </c:pt>
                <c:pt idx="176">
                  <c:v>7.333333333333333</c:v>
                </c:pt>
                <c:pt idx="177">
                  <c:v>7.375</c:v>
                </c:pt>
                <c:pt idx="178">
                  <c:v>7.416666666666667</c:v>
                </c:pt>
                <c:pt idx="179">
                  <c:v>7.458333333333333</c:v>
                </c:pt>
                <c:pt idx="180">
                  <c:v>7.5</c:v>
                </c:pt>
                <c:pt idx="181">
                  <c:v>7.541666666666667</c:v>
                </c:pt>
                <c:pt idx="182">
                  <c:v>7.583333333333333</c:v>
                </c:pt>
                <c:pt idx="183">
                  <c:v>7.625</c:v>
                </c:pt>
                <c:pt idx="184">
                  <c:v>7.666666666666667</c:v>
                </c:pt>
                <c:pt idx="185">
                  <c:v>7.708333333333333</c:v>
                </c:pt>
                <c:pt idx="186">
                  <c:v>7.75</c:v>
                </c:pt>
                <c:pt idx="187">
                  <c:v>7.791666666666667</c:v>
                </c:pt>
                <c:pt idx="188">
                  <c:v>7.833333333333333</c:v>
                </c:pt>
                <c:pt idx="189">
                  <c:v>7.875</c:v>
                </c:pt>
                <c:pt idx="190">
                  <c:v>7.916666666666667</c:v>
                </c:pt>
                <c:pt idx="191">
                  <c:v>7.958333333333333</c:v>
                </c:pt>
                <c:pt idx="192">
                  <c:v>8</c:v>
                </c:pt>
                <c:pt idx="193">
                  <c:v>8.0416666666666661</c:v>
                </c:pt>
                <c:pt idx="194">
                  <c:v>8.0833333333333339</c:v>
                </c:pt>
                <c:pt idx="195">
                  <c:v>8.125</c:v>
                </c:pt>
                <c:pt idx="196">
                  <c:v>8.1666666666666661</c:v>
                </c:pt>
                <c:pt idx="197">
                  <c:v>8.2083333333333339</c:v>
                </c:pt>
                <c:pt idx="198">
                  <c:v>8.25</c:v>
                </c:pt>
                <c:pt idx="199">
                  <c:v>8.2916666666666661</c:v>
                </c:pt>
                <c:pt idx="200">
                  <c:v>8.3333333333333339</c:v>
                </c:pt>
                <c:pt idx="201">
                  <c:v>8.375</c:v>
                </c:pt>
                <c:pt idx="202">
                  <c:v>8.4166666666666661</c:v>
                </c:pt>
                <c:pt idx="203">
                  <c:v>8.4583333333333339</c:v>
                </c:pt>
                <c:pt idx="204">
                  <c:v>8.5</c:v>
                </c:pt>
                <c:pt idx="205">
                  <c:v>8.5416666666666661</c:v>
                </c:pt>
                <c:pt idx="206">
                  <c:v>8.5833333333333339</c:v>
                </c:pt>
                <c:pt idx="207">
                  <c:v>8.625</c:v>
                </c:pt>
                <c:pt idx="208">
                  <c:v>8.6666666666666661</c:v>
                </c:pt>
                <c:pt idx="209">
                  <c:v>8.7083333333333339</c:v>
                </c:pt>
                <c:pt idx="210">
                  <c:v>8.75</c:v>
                </c:pt>
                <c:pt idx="211">
                  <c:v>8.7916666666666661</c:v>
                </c:pt>
                <c:pt idx="212">
                  <c:v>8.8333333333333339</c:v>
                </c:pt>
                <c:pt idx="213">
                  <c:v>8.875</c:v>
                </c:pt>
                <c:pt idx="214">
                  <c:v>8.9166666666666661</c:v>
                </c:pt>
                <c:pt idx="215">
                  <c:v>8.9583333333333339</c:v>
                </c:pt>
                <c:pt idx="216">
                  <c:v>9</c:v>
                </c:pt>
                <c:pt idx="217">
                  <c:v>9.0416666666666661</c:v>
                </c:pt>
                <c:pt idx="218">
                  <c:v>9.0833333333333339</c:v>
                </c:pt>
                <c:pt idx="219">
                  <c:v>9.125</c:v>
                </c:pt>
                <c:pt idx="220">
                  <c:v>9.1666666666666661</c:v>
                </c:pt>
                <c:pt idx="221">
                  <c:v>9.2083333333333339</c:v>
                </c:pt>
                <c:pt idx="222">
                  <c:v>9.25</c:v>
                </c:pt>
                <c:pt idx="223">
                  <c:v>9.2916666666666661</c:v>
                </c:pt>
                <c:pt idx="224">
                  <c:v>9.3333333333333339</c:v>
                </c:pt>
                <c:pt idx="225">
                  <c:v>9.375</c:v>
                </c:pt>
                <c:pt idx="226">
                  <c:v>9.4166666666666661</c:v>
                </c:pt>
                <c:pt idx="227">
                  <c:v>9.4583333333333339</c:v>
                </c:pt>
                <c:pt idx="228">
                  <c:v>9.5</c:v>
                </c:pt>
                <c:pt idx="229">
                  <c:v>9.5416666666666661</c:v>
                </c:pt>
                <c:pt idx="230">
                  <c:v>9.5833333333333339</c:v>
                </c:pt>
                <c:pt idx="231">
                  <c:v>9.625</c:v>
                </c:pt>
                <c:pt idx="232">
                  <c:v>9.6666666666666661</c:v>
                </c:pt>
                <c:pt idx="233">
                  <c:v>9.7083333333333339</c:v>
                </c:pt>
                <c:pt idx="234">
                  <c:v>9.75</c:v>
                </c:pt>
                <c:pt idx="235">
                  <c:v>9.7916666666666661</c:v>
                </c:pt>
                <c:pt idx="236">
                  <c:v>9.8333333333333339</c:v>
                </c:pt>
                <c:pt idx="237">
                  <c:v>9.875</c:v>
                </c:pt>
                <c:pt idx="238">
                  <c:v>9.9166666666666661</c:v>
                </c:pt>
                <c:pt idx="239">
                  <c:v>9.9583333333333339</c:v>
                </c:pt>
                <c:pt idx="240">
                  <c:v>10</c:v>
                </c:pt>
                <c:pt idx="241">
                  <c:v>10.041666666666666</c:v>
                </c:pt>
                <c:pt idx="242">
                  <c:v>10.083333333333334</c:v>
                </c:pt>
                <c:pt idx="243">
                  <c:v>10.125</c:v>
                </c:pt>
                <c:pt idx="244">
                  <c:v>10.166666666666666</c:v>
                </c:pt>
                <c:pt idx="245">
                  <c:v>10.208333333333334</c:v>
                </c:pt>
                <c:pt idx="246">
                  <c:v>10.25</c:v>
                </c:pt>
                <c:pt idx="247">
                  <c:v>10.291666666666666</c:v>
                </c:pt>
                <c:pt idx="248">
                  <c:v>10.333333333333334</c:v>
                </c:pt>
                <c:pt idx="249">
                  <c:v>10.375</c:v>
                </c:pt>
                <c:pt idx="250">
                  <c:v>10.416666666666666</c:v>
                </c:pt>
                <c:pt idx="251">
                  <c:v>10.458333333333334</c:v>
                </c:pt>
                <c:pt idx="252">
                  <c:v>10.5</c:v>
                </c:pt>
                <c:pt idx="253">
                  <c:v>10.541666666666666</c:v>
                </c:pt>
                <c:pt idx="254">
                  <c:v>10.583333333333334</c:v>
                </c:pt>
                <c:pt idx="255">
                  <c:v>10.625</c:v>
                </c:pt>
                <c:pt idx="256">
                  <c:v>10.666666666666666</c:v>
                </c:pt>
                <c:pt idx="257">
                  <c:v>10.708333333333334</c:v>
                </c:pt>
                <c:pt idx="258">
                  <c:v>10.75</c:v>
                </c:pt>
                <c:pt idx="259">
                  <c:v>10.791666666666666</c:v>
                </c:pt>
                <c:pt idx="260">
                  <c:v>10.833333333333334</c:v>
                </c:pt>
                <c:pt idx="261">
                  <c:v>10.875</c:v>
                </c:pt>
                <c:pt idx="262">
                  <c:v>10.916666666666666</c:v>
                </c:pt>
                <c:pt idx="263">
                  <c:v>10.958333333333334</c:v>
                </c:pt>
                <c:pt idx="264">
                  <c:v>11</c:v>
                </c:pt>
                <c:pt idx="265">
                  <c:v>11.041666666666666</c:v>
                </c:pt>
                <c:pt idx="266">
                  <c:v>11.083333333333334</c:v>
                </c:pt>
                <c:pt idx="267">
                  <c:v>11.125</c:v>
                </c:pt>
                <c:pt idx="268">
                  <c:v>11.166666666666666</c:v>
                </c:pt>
                <c:pt idx="269">
                  <c:v>11.208333333333334</c:v>
                </c:pt>
                <c:pt idx="270">
                  <c:v>11.25</c:v>
                </c:pt>
                <c:pt idx="271">
                  <c:v>11.291666666666666</c:v>
                </c:pt>
                <c:pt idx="272">
                  <c:v>11.333333333333334</c:v>
                </c:pt>
                <c:pt idx="273">
                  <c:v>11.375</c:v>
                </c:pt>
                <c:pt idx="274">
                  <c:v>11.416666666666666</c:v>
                </c:pt>
                <c:pt idx="275">
                  <c:v>11.458333333333334</c:v>
                </c:pt>
                <c:pt idx="276">
                  <c:v>11.5</c:v>
                </c:pt>
                <c:pt idx="277">
                  <c:v>11.541666666666666</c:v>
                </c:pt>
                <c:pt idx="278">
                  <c:v>11.583333333333334</c:v>
                </c:pt>
                <c:pt idx="279">
                  <c:v>11.625</c:v>
                </c:pt>
                <c:pt idx="280">
                  <c:v>11.666666666666666</c:v>
                </c:pt>
                <c:pt idx="281">
                  <c:v>11.708333333333334</c:v>
                </c:pt>
                <c:pt idx="282">
                  <c:v>11.75</c:v>
                </c:pt>
                <c:pt idx="283">
                  <c:v>11.791666666666666</c:v>
                </c:pt>
                <c:pt idx="284">
                  <c:v>11.833333333333334</c:v>
                </c:pt>
                <c:pt idx="285">
                  <c:v>11.875</c:v>
                </c:pt>
                <c:pt idx="286">
                  <c:v>11.916666666666666</c:v>
                </c:pt>
                <c:pt idx="287">
                  <c:v>11.958333333333334</c:v>
                </c:pt>
                <c:pt idx="288">
                  <c:v>12</c:v>
                </c:pt>
                <c:pt idx="289">
                  <c:v>12.041666666666666</c:v>
                </c:pt>
                <c:pt idx="290">
                  <c:v>12.083333333333334</c:v>
                </c:pt>
                <c:pt idx="291">
                  <c:v>12.125</c:v>
                </c:pt>
                <c:pt idx="292">
                  <c:v>12.166666666666666</c:v>
                </c:pt>
                <c:pt idx="293">
                  <c:v>12.208333333333334</c:v>
                </c:pt>
                <c:pt idx="294">
                  <c:v>12.25</c:v>
                </c:pt>
                <c:pt idx="295">
                  <c:v>12.291666666666666</c:v>
                </c:pt>
                <c:pt idx="296">
                  <c:v>12.333333333333334</c:v>
                </c:pt>
                <c:pt idx="297">
                  <c:v>12.375</c:v>
                </c:pt>
                <c:pt idx="298">
                  <c:v>12.416666666666666</c:v>
                </c:pt>
                <c:pt idx="299">
                  <c:v>12.458333333333334</c:v>
                </c:pt>
                <c:pt idx="300">
                  <c:v>12.5</c:v>
                </c:pt>
                <c:pt idx="301">
                  <c:v>12.541666666666666</c:v>
                </c:pt>
                <c:pt idx="302">
                  <c:v>12.583333333333334</c:v>
                </c:pt>
                <c:pt idx="303">
                  <c:v>12.625</c:v>
                </c:pt>
                <c:pt idx="304">
                  <c:v>12.666666666666666</c:v>
                </c:pt>
                <c:pt idx="305">
                  <c:v>12.708333333333334</c:v>
                </c:pt>
                <c:pt idx="306">
                  <c:v>12.75</c:v>
                </c:pt>
                <c:pt idx="307">
                  <c:v>12.791666666666666</c:v>
                </c:pt>
                <c:pt idx="308">
                  <c:v>12.833333333333334</c:v>
                </c:pt>
                <c:pt idx="309">
                  <c:v>12.875</c:v>
                </c:pt>
                <c:pt idx="310">
                  <c:v>12.916666666666666</c:v>
                </c:pt>
                <c:pt idx="311">
                  <c:v>12.958333333333334</c:v>
                </c:pt>
                <c:pt idx="312">
                  <c:v>13</c:v>
                </c:pt>
                <c:pt idx="313">
                  <c:v>13.041666666666666</c:v>
                </c:pt>
                <c:pt idx="314">
                  <c:v>13.083333333333334</c:v>
                </c:pt>
                <c:pt idx="315">
                  <c:v>13.125</c:v>
                </c:pt>
                <c:pt idx="316">
                  <c:v>13.166666666666666</c:v>
                </c:pt>
                <c:pt idx="317">
                  <c:v>13.208333333333334</c:v>
                </c:pt>
                <c:pt idx="318">
                  <c:v>13.25</c:v>
                </c:pt>
                <c:pt idx="319">
                  <c:v>13.291666666666666</c:v>
                </c:pt>
                <c:pt idx="320">
                  <c:v>13.333333333333334</c:v>
                </c:pt>
                <c:pt idx="321">
                  <c:v>13.375</c:v>
                </c:pt>
                <c:pt idx="322">
                  <c:v>13.416666666666666</c:v>
                </c:pt>
                <c:pt idx="323">
                  <c:v>13.458333333333334</c:v>
                </c:pt>
                <c:pt idx="324">
                  <c:v>13.5</c:v>
                </c:pt>
                <c:pt idx="325">
                  <c:v>13.541666666666666</c:v>
                </c:pt>
                <c:pt idx="326">
                  <c:v>13.583333333333334</c:v>
                </c:pt>
                <c:pt idx="327">
                  <c:v>13.625</c:v>
                </c:pt>
                <c:pt idx="328">
                  <c:v>13.666666666666666</c:v>
                </c:pt>
                <c:pt idx="329">
                  <c:v>13.708333333333334</c:v>
                </c:pt>
                <c:pt idx="330">
                  <c:v>13.75</c:v>
                </c:pt>
                <c:pt idx="331">
                  <c:v>13.791666666666666</c:v>
                </c:pt>
                <c:pt idx="332">
                  <c:v>13.833333333333334</c:v>
                </c:pt>
                <c:pt idx="333">
                  <c:v>13.833333333333334</c:v>
                </c:pt>
              </c:numCache>
            </c:numRef>
          </c:xVal>
          <c:yVal>
            <c:numRef>
              <c:f>'p average fresh vs. stored'!$E$5:$E$338</c:f>
              <c:numCache>
                <c:formatCode>General</c:formatCode>
                <c:ptCount val="334"/>
                <c:pt idx="0">
                  <c:v>0</c:v>
                </c:pt>
                <c:pt idx="1">
                  <c:v>58.666666666666664</c:v>
                </c:pt>
                <c:pt idx="2">
                  <c:v>84.333333333333329</c:v>
                </c:pt>
                <c:pt idx="3">
                  <c:v>103.33333333333333</c:v>
                </c:pt>
                <c:pt idx="4">
                  <c:v>119</c:v>
                </c:pt>
                <c:pt idx="5">
                  <c:v>131.33333333333334</c:v>
                </c:pt>
                <c:pt idx="6">
                  <c:v>141.66666666666666</c:v>
                </c:pt>
                <c:pt idx="7">
                  <c:v>149.33333333333334</c:v>
                </c:pt>
                <c:pt idx="8">
                  <c:v>156.66666666666666</c:v>
                </c:pt>
                <c:pt idx="9">
                  <c:v>162.66666666666666</c:v>
                </c:pt>
                <c:pt idx="10">
                  <c:v>168</c:v>
                </c:pt>
                <c:pt idx="11">
                  <c:v>172.66666666666666</c:v>
                </c:pt>
                <c:pt idx="12">
                  <c:v>176.66666666666666</c:v>
                </c:pt>
                <c:pt idx="13">
                  <c:v>180.33333333333334</c:v>
                </c:pt>
                <c:pt idx="14">
                  <c:v>184.33333333333334</c:v>
                </c:pt>
                <c:pt idx="15">
                  <c:v>188</c:v>
                </c:pt>
                <c:pt idx="16">
                  <c:v>191.66666666666666</c:v>
                </c:pt>
                <c:pt idx="17">
                  <c:v>196</c:v>
                </c:pt>
                <c:pt idx="18">
                  <c:v>200</c:v>
                </c:pt>
                <c:pt idx="19">
                  <c:v>204</c:v>
                </c:pt>
                <c:pt idx="20">
                  <c:v>208.66666666666666</c:v>
                </c:pt>
                <c:pt idx="21">
                  <c:v>212</c:v>
                </c:pt>
                <c:pt idx="22">
                  <c:v>193.33333333333334</c:v>
                </c:pt>
                <c:pt idx="23">
                  <c:v>186.33333333333334</c:v>
                </c:pt>
                <c:pt idx="24">
                  <c:v>213.66666666666666</c:v>
                </c:pt>
                <c:pt idx="25">
                  <c:v>224.66666666666666</c:v>
                </c:pt>
                <c:pt idx="26">
                  <c:v>232.33333333333334</c:v>
                </c:pt>
                <c:pt idx="27">
                  <c:v>238.66666666666666</c:v>
                </c:pt>
                <c:pt idx="28">
                  <c:v>244.66666666666666</c:v>
                </c:pt>
                <c:pt idx="29">
                  <c:v>249.66666666666666</c:v>
                </c:pt>
                <c:pt idx="30">
                  <c:v>254.33333333333334</c:v>
                </c:pt>
                <c:pt idx="31">
                  <c:v>258.66666666666669</c:v>
                </c:pt>
                <c:pt idx="32">
                  <c:v>262.33333333333331</c:v>
                </c:pt>
                <c:pt idx="33">
                  <c:v>266</c:v>
                </c:pt>
                <c:pt idx="34">
                  <c:v>270</c:v>
                </c:pt>
                <c:pt idx="35">
                  <c:v>273</c:v>
                </c:pt>
                <c:pt idx="36">
                  <c:v>276</c:v>
                </c:pt>
                <c:pt idx="37">
                  <c:v>279</c:v>
                </c:pt>
                <c:pt idx="38">
                  <c:v>282.33333333333331</c:v>
                </c:pt>
                <c:pt idx="39">
                  <c:v>285</c:v>
                </c:pt>
                <c:pt idx="40">
                  <c:v>287.66666666666669</c:v>
                </c:pt>
                <c:pt idx="41">
                  <c:v>290.33333333333331</c:v>
                </c:pt>
                <c:pt idx="42">
                  <c:v>289.33333333333331</c:v>
                </c:pt>
                <c:pt idx="43">
                  <c:v>294</c:v>
                </c:pt>
                <c:pt idx="44">
                  <c:v>307.33333333333331</c:v>
                </c:pt>
                <c:pt idx="45">
                  <c:v>318.66666666666669</c:v>
                </c:pt>
                <c:pt idx="46">
                  <c:v>328.66666666666669</c:v>
                </c:pt>
                <c:pt idx="47">
                  <c:v>337.66666666666669</c:v>
                </c:pt>
                <c:pt idx="48">
                  <c:v>342</c:v>
                </c:pt>
                <c:pt idx="49">
                  <c:v>350</c:v>
                </c:pt>
                <c:pt idx="50">
                  <c:v>362</c:v>
                </c:pt>
                <c:pt idx="51">
                  <c:v>370</c:v>
                </c:pt>
                <c:pt idx="52">
                  <c:v>377.33333333333331</c:v>
                </c:pt>
                <c:pt idx="53">
                  <c:v>383.33333333333331</c:v>
                </c:pt>
                <c:pt idx="54">
                  <c:v>388.66666666666669</c:v>
                </c:pt>
                <c:pt idx="55">
                  <c:v>393.66666666666669</c:v>
                </c:pt>
                <c:pt idx="56">
                  <c:v>399</c:v>
                </c:pt>
                <c:pt idx="57">
                  <c:v>404</c:v>
                </c:pt>
                <c:pt idx="58">
                  <c:v>408</c:v>
                </c:pt>
                <c:pt idx="59">
                  <c:v>412</c:v>
                </c:pt>
                <c:pt idx="60">
                  <c:v>415.66666666666669</c:v>
                </c:pt>
                <c:pt idx="61">
                  <c:v>418.66666666666669</c:v>
                </c:pt>
                <c:pt idx="62">
                  <c:v>421.66666666666669</c:v>
                </c:pt>
                <c:pt idx="63">
                  <c:v>425.33333333333331</c:v>
                </c:pt>
                <c:pt idx="64">
                  <c:v>422.66666666666669</c:v>
                </c:pt>
                <c:pt idx="65">
                  <c:v>428</c:v>
                </c:pt>
                <c:pt idx="66">
                  <c:v>433.33333333333331</c:v>
                </c:pt>
                <c:pt idx="67">
                  <c:v>438.33333333333331</c:v>
                </c:pt>
                <c:pt idx="68">
                  <c:v>443.66666666666669</c:v>
                </c:pt>
                <c:pt idx="69">
                  <c:v>448.33333333333331</c:v>
                </c:pt>
                <c:pt idx="70">
                  <c:v>453.33333333333331</c:v>
                </c:pt>
                <c:pt idx="71">
                  <c:v>462.66666666666669</c:v>
                </c:pt>
                <c:pt idx="72">
                  <c:v>471</c:v>
                </c:pt>
                <c:pt idx="73">
                  <c:v>476.33333333333331</c:v>
                </c:pt>
                <c:pt idx="74">
                  <c:v>480.33333333333331</c:v>
                </c:pt>
                <c:pt idx="75">
                  <c:v>483.66666666666669</c:v>
                </c:pt>
                <c:pt idx="76">
                  <c:v>486</c:v>
                </c:pt>
                <c:pt idx="77">
                  <c:v>488.66666666666669</c:v>
                </c:pt>
                <c:pt idx="78">
                  <c:v>490.33333333333331</c:v>
                </c:pt>
                <c:pt idx="79">
                  <c:v>492</c:v>
                </c:pt>
                <c:pt idx="80">
                  <c:v>493.33333333333331</c:v>
                </c:pt>
                <c:pt idx="81">
                  <c:v>495</c:v>
                </c:pt>
                <c:pt idx="82">
                  <c:v>497</c:v>
                </c:pt>
                <c:pt idx="83">
                  <c:v>499</c:v>
                </c:pt>
                <c:pt idx="84">
                  <c:v>500.33333333333331</c:v>
                </c:pt>
                <c:pt idx="85">
                  <c:v>502</c:v>
                </c:pt>
                <c:pt idx="86">
                  <c:v>503.66666666666669</c:v>
                </c:pt>
                <c:pt idx="87">
                  <c:v>505</c:v>
                </c:pt>
                <c:pt idx="88">
                  <c:v>507</c:v>
                </c:pt>
                <c:pt idx="89">
                  <c:v>509.33333333333331</c:v>
                </c:pt>
                <c:pt idx="90">
                  <c:v>512</c:v>
                </c:pt>
                <c:pt idx="91">
                  <c:v>515.33333333333337</c:v>
                </c:pt>
                <c:pt idx="92">
                  <c:v>509</c:v>
                </c:pt>
                <c:pt idx="93">
                  <c:v>515</c:v>
                </c:pt>
                <c:pt idx="94">
                  <c:v>520</c:v>
                </c:pt>
                <c:pt idx="95">
                  <c:v>524.66666666666663</c:v>
                </c:pt>
                <c:pt idx="96">
                  <c:v>532.33333333333337</c:v>
                </c:pt>
                <c:pt idx="97">
                  <c:v>537.33333333333337</c:v>
                </c:pt>
                <c:pt idx="98">
                  <c:v>542.33333333333337</c:v>
                </c:pt>
                <c:pt idx="99">
                  <c:v>546.66666666666663</c:v>
                </c:pt>
                <c:pt idx="100">
                  <c:v>550</c:v>
                </c:pt>
                <c:pt idx="101">
                  <c:v>554</c:v>
                </c:pt>
                <c:pt idx="102">
                  <c:v>556.66666666666663</c:v>
                </c:pt>
                <c:pt idx="103">
                  <c:v>559.66666666666663</c:v>
                </c:pt>
                <c:pt idx="104">
                  <c:v>562.66666666666663</c:v>
                </c:pt>
                <c:pt idx="105">
                  <c:v>564.66666666666663</c:v>
                </c:pt>
                <c:pt idx="106">
                  <c:v>567.33333333333337</c:v>
                </c:pt>
                <c:pt idx="107">
                  <c:v>568.66666666666663</c:v>
                </c:pt>
                <c:pt idx="108">
                  <c:v>570.33333333333337</c:v>
                </c:pt>
                <c:pt idx="109">
                  <c:v>571.66666666666663</c:v>
                </c:pt>
                <c:pt idx="110">
                  <c:v>573</c:v>
                </c:pt>
                <c:pt idx="111">
                  <c:v>574</c:v>
                </c:pt>
                <c:pt idx="112">
                  <c:v>576</c:v>
                </c:pt>
                <c:pt idx="113">
                  <c:v>577.33333333333337</c:v>
                </c:pt>
                <c:pt idx="114">
                  <c:v>579.33333333333337</c:v>
                </c:pt>
                <c:pt idx="115">
                  <c:v>582</c:v>
                </c:pt>
                <c:pt idx="116">
                  <c:v>585</c:v>
                </c:pt>
                <c:pt idx="117">
                  <c:v>588.33333333333337</c:v>
                </c:pt>
                <c:pt idx="118">
                  <c:v>591</c:v>
                </c:pt>
                <c:pt idx="119">
                  <c:v>594</c:v>
                </c:pt>
                <c:pt idx="120">
                  <c:v>598</c:v>
                </c:pt>
                <c:pt idx="121">
                  <c:v>601.66666666666663</c:v>
                </c:pt>
                <c:pt idx="122">
                  <c:v>604</c:v>
                </c:pt>
                <c:pt idx="123">
                  <c:v>606</c:v>
                </c:pt>
                <c:pt idx="124">
                  <c:v>607.33333333333337</c:v>
                </c:pt>
                <c:pt idx="125">
                  <c:v>607.33333333333337</c:v>
                </c:pt>
                <c:pt idx="126">
                  <c:v>608.33333333333337</c:v>
                </c:pt>
                <c:pt idx="127">
                  <c:v>609.33333333333337</c:v>
                </c:pt>
                <c:pt idx="128">
                  <c:v>610</c:v>
                </c:pt>
                <c:pt idx="129">
                  <c:v>611</c:v>
                </c:pt>
                <c:pt idx="130">
                  <c:v>612</c:v>
                </c:pt>
                <c:pt idx="131">
                  <c:v>613</c:v>
                </c:pt>
                <c:pt idx="132">
                  <c:v>613.66666666666663</c:v>
                </c:pt>
                <c:pt idx="133">
                  <c:v>614.66666666666663</c:v>
                </c:pt>
                <c:pt idx="134">
                  <c:v>616</c:v>
                </c:pt>
                <c:pt idx="135">
                  <c:v>617</c:v>
                </c:pt>
                <c:pt idx="136">
                  <c:v>618</c:v>
                </c:pt>
                <c:pt idx="137">
                  <c:v>619.66666666666663</c:v>
                </c:pt>
                <c:pt idx="138">
                  <c:v>621.33333333333337</c:v>
                </c:pt>
                <c:pt idx="139">
                  <c:v>623.33333333333337</c:v>
                </c:pt>
                <c:pt idx="140">
                  <c:v>625.66666666666663</c:v>
                </c:pt>
                <c:pt idx="141">
                  <c:v>629.33333333333337</c:v>
                </c:pt>
                <c:pt idx="142">
                  <c:v>632.33333333333337</c:v>
                </c:pt>
                <c:pt idx="143">
                  <c:v>636.33333333333337</c:v>
                </c:pt>
                <c:pt idx="144">
                  <c:v>641.66666666666663</c:v>
                </c:pt>
                <c:pt idx="145">
                  <c:v>646.66666666666663</c:v>
                </c:pt>
                <c:pt idx="146">
                  <c:v>650</c:v>
                </c:pt>
                <c:pt idx="147">
                  <c:v>651.66666666666663</c:v>
                </c:pt>
                <c:pt idx="148">
                  <c:v>653</c:v>
                </c:pt>
                <c:pt idx="149">
                  <c:v>654.33333333333337</c:v>
                </c:pt>
                <c:pt idx="150">
                  <c:v>654.33333333333337</c:v>
                </c:pt>
                <c:pt idx="151">
                  <c:v>655.33333333333337</c:v>
                </c:pt>
                <c:pt idx="152">
                  <c:v>656</c:v>
                </c:pt>
                <c:pt idx="153">
                  <c:v>657</c:v>
                </c:pt>
                <c:pt idx="154">
                  <c:v>657.66666666666663</c:v>
                </c:pt>
                <c:pt idx="155">
                  <c:v>658.66666666666663</c:v>
                </c:pt>
                <c:pt idx="156">
                  <c:v>660</c:v>
                </c:pt>
                <c:pt idx="157">
                  <c:v>661</c:v>
                </c:pt>
                <c:pt idx="158">
                  <c:v>661.66666666666663</c:v>
                </c:pt>
                <c:pt idx="159">
                  <c:v>662.33333333333337</c:v>
                </c:pt>
                <c:pt idx="160">
                  <c:v>663.66666666666663</c:v>
                </c:pt>
                <c:pt idx="161">
                  <c:v>665.33333333333337</c:v>
                </c:pt>
                <c:pt idx="162">
                  <c:v>667</c:v>
                </c:pt>
                <c:pt idx="163">
                  <c:v>669.66666666666663</c:v>
                </c:pt>
                <c:pt idx="164">
                  <c:v>672</c:v>
                </c:pt>
                <c:pt idx="165">
                  <c:v>674.66666666666663</c:v>
                </c:pt>
                <c:pt idx="166">
                  <c:v>689.66666666666663</c:v>
                </c:pt>
                <c:pt idx="167">
                  <c:v>693.66666666666663</c:v>
                </c:pt>
                <c:pt idx="168">
                  <c:v>696.66666666666663</c:v>
                </c:pt>
                <c:pt idx="169">
                  <c:v>699.66666666666663</c:v>
                </c:pt>
                <c:pt idx="170">
                  <c:v>701.66666666666663</c:v>
                </c:pt>
                <c:pt idx="171">
                  <c:v>703</c:v>
                </c:pt>
                <c:pt idx="172">
                  <c:v>704</c:v>
                </c:pt>
                <c:pt idx="173">
                  <c:v>704</c:v>
                </c:pt>
                <c:pt idx="174">
                  <c:v>704.33333333333337</c:v>
                </c:pt>
                <c:pt idx="175">
                  <c:v>704.66666666666663</c:v>
                </c:pt>
                <c:pt idx="176">
                  <c:v>705</c:v>
                </c:pt>
                <c:pt idx="177">
                  <c:v>705.33333333333337</c:v>
                </c:pt>
                <c:pt idx="178">
                  <c:v>706</c:v>
                </c:pt>
                <c:pt idx="179">
                  <c:v>706.33333333333337</c:v>
                </c:pt>
                <c:pt idx="180">
                  <c:v>706.66666666666663</c:v>
                </c:pt>
                <c:pt idx="181">
                  <c:v>707.66666666666663</c:v>
                </c:pt>
                <c:pt idx="182">
                  <c:v>708.33333333333337</c:v>
                </c:pt>
                <c:pt idx="183">
                  <c:v>708.66666666666663</c:v>
                </c:pt>
                <c:pt idx="184">
                  <c:v>710.33333333333337</c:v>
                </c:pt>
                <c:pt idx="185">
                  <c:v>711</c:v>
                </c:pt>
                <c:pt idx="186">
                  <c:v>713</c:v>
                </c:pt>
                <c:pt idx="187">
                  <c:v>713.66666666666663</c:v>
                </c:pt>
                <c:pt idx="188">
                  <c:v>716.33333333333337</c:v>
                </c:pt>
                <c:pt idx="189">
                  <c:v>718.33333333333337</c:v>
                </c:pt>
                <c:pt idx="190">
                  <c:v>720.66666666666663</c:v>
                </c:pt>
                <c:pt idx="191">
                  <c:v>723</c:v>
                </c:pt>
                <c:pt idx="192">
                  <c:v>725.66666666666663</c:v>
                </c:pt>
                <c:pt idx="193">
                  <c:v>728</c:v>
                </c:pt>
                <c:pt idx="194">
                  <c:v>730</c:v>
                </c:pt>
                <c:pt idx="195">
                  <c:v>730.66666666666663</c:v>
                </c:pt>
                <c:pt idx="196">
                  <c:v>730.66666666666663</c:v>
                </c:pt>
                <c:pt idx="197">
                  <c:v>730.66666666666663</c:v>
                </c:pt>
                <c:pt idx="198">
                  <c:v>730.33333333333337</c:v>
                </c:pt>
                <c:pt idx="199">
                  <c:v>730.66666666666663</c:v>
                </c:pt>
                <c:pt idx="200">
                  <c:v>731</c:v>
                </c:pt>
                <c:pt idx="201">
                  <c:v>731</c:v>
                </c:pt>
                <c:pt idx="202">
                  <c:v>731.66666666666663</c:v>
                </c:pt>
                <c:pt idx="203">
                  <c:v>732.33333333333337</c:v>
                </c:pt>
                <c:pt idx="204">
                  <c:v>732</c:v>
                </c:pt>
                <c:pt idx="205">
                  <c:v>733</c:v>
                </c:pt>
                <c:pt idx="206">
                  <c:v>733.66666666666663</c:v>
                </c:pt>
                <c:pt idx="207">
                  <c:v>733.66666666666663</c:v>
                </c:pt>
                <c:pt idx="208">
                  <c:v>734.33333333333337</c:v>
                </c:pt>
                <c:pt idx="209">
                  <c:v>735</c:v>
                </c:pt>
                <c:pt idx="210">
                  <c:v>737</c:v>
                </c:pt>
                <c:pt idx="211">
                  <c:v>738.66666666666663</c:v>
                </c:pt>
                <c:pt idx="212">
                  <c:v>740.66666666666663</c:v>
                </c:pt>
                <c:pt idx="213">
                  <c:v>742</c:v>
                </c:pt>
                <c:pt idx="214">
                  <c:v>744</c:v>
                </c:pt>
                <c:pt idx="215">
                  <c:v>745.33333333333337</c:v>
                </c:pt>
                <c:pt idx="216">
                  <c:v>746.66666666666663</c:v>
                </c:pt>
                <c:pt idx="217">
                  <c:v>749</c:v>
                </c:pt>
                <c:pt idx="218">
                  <c:v>750.66666666666663</c:v>
                </c:pt>
                <c:pt idx="219">
                  <c:v>752.33333333333337</c:v>
                </c:pt>
                <c:pt idx="220">
                  <c:v>753.66666666666663</c:v>
                </c:pt>
                <c:pt idx="221">
                  <c:v>754.66666666666663</c:v>
                </c:pt>
                <c:pt idx="222">
                  <c:v>755.66666666666663</c:v>
                </c:pt>
                <c:pt idx="223">
                  <c:v>756.66666666666663</c:v>
                </c:pt>
                <c:pt idx="224">
                  <c:v>757.66666666666663</c:v>
                </c:pt>
                <c:pt idx="225">
                  <c:v>758.33333333333337</c:v>
                </c:pt>
                <c:pt idx="226">
                  <c:v>758.66666666666663</c:v>
                </c:pt>
                <c:pt idx="227">
                  <c:v>759.66666666666663</c:v>
                </c:pt>
                <c:pt idx="228">
                  <c:v>760.66666666666663</c:v>
                </c:pt>
                <c:pt idx="229">
                  <c:v>761.33333333333337</c:v>
                </c:pt>
                <c:pt idx="230">
                  <c:v>762</c:v>
                </c:pt>
                <c:pt idx="231">
                  <c:v>763</c:v>
                </c:pt>
                <c:pt idx="232">
                  <c:v>764</c:v>
                </c:pt>
                <c:pt idx="233">
                  <c:v>765</c:v>
                </c:pt>
                <c:pt idx="234">
                  <c:v>766.33333333333337</c:v>
                </c:pt>
                <c:pt idx="235">
                  <c:v>770.33333333333337</c:v>
                </c:pt>
                <c:pt idx="236">
                  <c:v>775.33333333333337</c:v>
                </c:pt>
                <c:pt idx="237">
                  <c:v>780</c:v>
                </c:pt>
                <c:pt idx="238">
                  <c:v>783.66666666666663</c:v>
                </c:pt>
                <c:pt idx="239">
                  <c:v>787.33333333333337</c:v>
                </c:pt>
                <c:pt idx="240">
                  <c:v>791</c:v>
                </c:pt>
                <c:pt idx="241">
                  <c:v>795.33333333333337</c:v>
                </c:pt>
                <c:pt idx="242">
                  <c:v>797</c:v>
                </c:pt>
                <c:pt idx="243">
                  <c:v>797</c:v>
                </c:pt>
                <c:pt idx="244">
                  <c:v>797.66666666666663</c:v>
                </c:pt>
                <c:pt idx="245">
                  <c:v>798.33333333333337</c:v>
                </c:pt>
                <c:pt idx="246">
                  <c:v>798</c:v>
                </c:pt>
                <c:pt idx="247">
                  <c:v>798</c:v>
                </c:pt>
                <c:pt idx="248">
                  <c:v>798</c:v>
                </c:pt>
                <c:pt idx="249">
                  <c:v>798.66666666666663</c:v>
                </c:pt>
                <c:pt idx="250">
                  <c:v>798.66666666666663</c:v>
                </c:pt>
                <c:pt idx="251">
                  <c:v>799.33333333333337</c:v>
                </c:pt>
                <c:pt idx="252">
                  <c:v>800</c:v>
                </c:pt>
                <c:pt idx="253">
                  <c:v>800</c:v>
                </c:pt>
                <c:pt idx="254">
                  <c:v>801</c:v>
                </c:pt>
                <c:pt idx="255">
                  <c:v>801</c:v>
                </c:pt>
                <c:pt idx="256">
                  <c:v>802.33333333333337</c:v>
                </c:pt>
                <c:pt idx="257">
                  <c:v>803.33333333333337</c:v>
                </c:pt>
                <c:pt idx="258">
                  <c:v>802</c:v>
                </c:pt>
                <c:pt idx="259">
                  <c:v>801</c:v>
                </c:pt>
                <c:pt idx="260">
                  <c:v>800.66666666666663</c:v>
                </c:pt>
                <c:pt idx="261">
                  <c:v>802.33333333333337</c:v>
                </c:pt>
                <c:pt idx="262">
                  <c:v>805</c:v>
                </c:pt>
                <c:pt idx="263">
                  <c:v>806.33333333333337</c:v>
                </c:pt>
                <c:pt idx="264">
                  <c:v>807.66666666666663</c:v>
                </c:pt>
                <c:pt idx="265">
                  <c:v>806.33333333333337</c:v>
                </c:pt>
                <c:pt idx="266">
                  <c:v>833.33333333333337</c:v>
                </c:pt>
                <c:pt idx="267">
                  <c:v>836.66666666666663</c:v>
                </c:pt>
                <c:pt idx="268">
                  <c:v>838.33333333333337</c:v>
                </c:pt>
                <c:pt idx="269">
                  <c:v>839.66666666666663</c:v>
                </c:pt>
                <c:pt idx="270">
                  <c:v>840</c:v>
                </c:pt>
                <c:pt idx="271">
                  <c:v>840.33333333333337</c:v>
                </c:pt>
                <c:pt idx="272">
                  <c:v>841</c:v>
                </c:pt>
                <c:pt idx="273">
                  <c:v>841.33333333333337</c:v>
                </c:pt>
                <c:pt idx="274">
                  <c:v>842</c:v>
                </c:pt>
                <c:pt idx="275">
                  <c:v>842</c:v>
                </c:pt>
                <c:pt idx="276">
                  <c:v>842</c:v>
                </c:pt>
                <c:pt idx="277">
                  <c:v>842.66666666666663</c:v>
                </c:pt>
                <c:pt idx="278">
                  <c:v>842.66666666666663</c:v>
                </c:pt>
                <c:pt idx="279">
                  <c:v>843.66666666666663</c:v>
                </c:pt>
                <c:pt idx="280">
                  <c:v>844.33333333333337</c:v>
                </c:pt>
                <c:pt idx="281">
                  <c:v>845</c:v>
                </c:pt>
                <c:pt idx="282">
                  <c:v>846.33333333333337</c:v>
                </c:pt>
                <c:pt idx="283">
                  <c:v>848</c:v>
                </c:pt>
                <c:pt idx="284">
                  <c:v>849.66666666666663</c:v>
                </c:pt>
                <c:pt idx="285">
                  <c:v>852</c:v>
                </c:pt>
                <c:pt idx="286">
                  <c:v>853.66666666666663</c:v>
                </c:pt>
                <c:pt idx="287">
                  <c:v>856.66666666666663</c:v>
                </c:pt>
                <c:pt idx="288">
                  <c:v>859</c:v>
                </c:pt>
                <c:pt idx="289">
                  <c:v>863</c:v>
                </c:pt>
                <c:pt idx="290">
                  <c:v>864.33333333333337</c:v>
                </c:pt>
                <c:pt idx="291">
                  <c:v>866.33333333333337</c:v>
                </c:pt>
                <c:pt idx="292">
                  <c:v>866.66666666666663</c:v>
                </c:pt>
                <c:pt idx="293">
                  <c:v>867</c:v>
                </c:pt>
                <c:pt idx="294">
                  <c:v>866.66666666666663</c:v>
                </c:pt>
                <c:pt idx="295">
                  <c:v>866.66666666666663</c:v>
                </c:pt>
                <c:pt idx="296">
                  <c:v>866.66666666666663</c:v>
                </c:pt>
                <c:pt idx="297">
                  <c:v>866.66666666666663</c:v>
                </c:pt>
                <c:pt idx="298">
                  <c:v>866.66666666666663</c:v>
                </c:pt>
                <c:pt idx="299">
                  <c:v>867</c:v>
                </c:pt>
                <c:pt idx="300">
                  <c:v>867</c:v>
                </c:pt>
                <c:pt idx="301">
                  <c:v>867.66666666666663</c:v>
                </c:pt>
                <c:pt idx="302">
                  <c:v>867.66666666666663</c:v>
                </c:pt>
                <c:pt idx="303">
                  <c:v>868</c:v>
                </c:pt>
                <c:pt idx="304">
                  <c:v>868.66666666666663</c:v>
                </c:pt>
                <c:pt idx="305">
                  <c:v>869.33333333333337</c:v>
                </c:pt>
                <c:pt idx="306">
                  <c:v>871</c:v>
                </c:pt>
                <c:pt idx="307">
                  <c:v>872.66666666666663</c:v>
                </c:pt>
                <c:pt idx="308">
                  <c:v>874.33333333333337</c:v>
                </c:pt>
                <c:pt idx="309">
                  <c:v>876.33333333333337</c:v>
                </c:pt>
                <c:pt idx="310">
                  <c:v>878.66666666666663</c:v>
                </c:pt>
                <c:pt idx="311">
                  <c:v>881.33333333333337</c:v>
                </c:pt>
                <c:pt idx="312">
                  <c:v>884</c:v>
                </c:pt>
                <c:pt idx="313">
                  <c:v>887.33333333333337</c:v>
                </c:pt>
                <c:pt idx="314">
                  <c:v>889</c:v>
                </c:pt>
                <c:pt idx="315">
                  <c:v>889</c:v>
                </c:pt>
                <c:pt idx="316">
                  <c:v>889.33333333333337</c:v>
                </c:pt>
                <c:pt idx="317">
                  <c:v>888.66666666666663</c:v>
                </c:pt>
                <c:pt idx="318">
                  <c:v>888.66666666666663</c:v>
                </c:pt>
                <c:pt idx="319">
                  <c:v>887.33333333333337</c:v>
                </c:pt>
                <c:pt idx="320">
                  <c:v>887.33333333333337</c:v>
                </c:pt>
                <c:pt idx="321">
                  <c:v>887.33333333333337</c:v>
                </c:pt>
                <c:pt idx="322">
                  <c:v>887</c:v>
                </c:pt>
                <c:pt idx="323">
                  <c:v>887</c:v>
                </c:pt>
                <c:pt idx="324">
                  <c:v>887</c:v>
                </c:pt>
                <c:pt idx="325">
                  <c:v>886.66666666666663</c:v>
                </c:pt>
                <c:pt idx="326">
                  <c:v>886.66666666666663</c:v>
                </c:pt>
                <c:pt idx="327">
                  <c:v>886.66666666666663</c:v>
                </c:pt>
                <c:pt idx="328">
                  <c:v>886.66666666666663</c:v>
                </c:pt>
                <c:pt idx="329">
                  <c:v>885.33333333333337</c:v>
                </c:pt>
                <c:pt idx="330">
                  <c:v>886</c:v>
                </c:pt>
                <c:pt idx="331">
                  <c:v>888</c:v>
                </c:pt>
                <c:pt idx="332">
                  <c:v>889</c:v>
                </c:pt>
                <c:pt idx="333">
                  <c:v>89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C0A6-504E-BCB1-B8A89D1E7A8E}"/>
            </c:ext>
          </c:extLst>
        </c:ser>
        <c:ser>
          <c:idx val="1"/>
          <c:order val="1"/>
          <c:tx>
            <c:v>Average Stored</c:v>
          </c:tx>
          <c:spPr>
            <a:ln w="25400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xVal>
            <c:numRef>
              <c:f>'p average fresh vs. stored'!$A$5:$A$338</c:f>
              <c:numCache>
                <c:formatCode>0</c:formatCode>
                <c:ptCount val="334"/>
                <c:pt idx="0">
                  <c:v>0</c:v>
                </c:pt>
                <c:pt idx="1">
                  <c:v>4.1666666666666664E-2</c:v>
                </c:pt>
                <c:pt idx="2">
                  <c:v>8.3333333333333329E-2</c:v>
                </c:pt>
                <c:pt idx="3">
                  <c:v>0.125</c:v>
                </c:pt>
                <c:pt idx="4">
                  <c:v>0.16666666666666666</c:v>
                </c:pt>
                <c:pt idx="5">
                  <c:v>0.20833333333333334</c:v>
                </c:pt>
                <c:pt idx="6">
                  <c:v>0.25</c:v>
                </c:pt>
                <c:pt idx="7">
                  <c:v>0.29166666666666669</c:v>
                </c:pt>
                <c:pt idx="8">
                  <c:v>0.33333333333333331</c:v>
                </c:pt>
                <c:pt idx="9">
                  <c:v>0.375</c:v>
                </c:pt>
                <c:pt idx="10">
                  <c:v>0.41666666666666669</c:v>
                </c:pt>
                <c:pt idx="11">
                  <c:v>0.45833333333333331</c:v>
                </c:pt>
                <c:pt idx="12">
                  <c:v>0.5</c:v>
                </c:pt>
                <c:pt idx="13">
                  <c:v>0.54166666666666663</c:v>
                </c:pt>
                <c:pt idx="14">
                  <c:v>0.58333333333333337</c:v>
                </c:pt>
                <c:pt idx="15">
                  <c:v>0.625</c:v>
                </c:pt>
                <c:pt idx="16">
                  <c:v>0.66666666666666663</c:v>
                </c:pt>
                <c:pt idx="17">
                  <c:v>0.70833333333333337</c:v>
                </c:pt>
                <c:pt idx="18">
                  <c:v>0.75</c:v>
                </c:pt>
                <c:pt idx="19">
                  <c:v>0.79166666666666663</c:v>
                </c:pt>
                <c:pt idx="20">
                  <c:v>0.83333333333333337</c:v>
                </c:pt>
                <c:pt idx="21">
                  <c:v>0.875</c:v>
                </c:pt>
                <c:pt idx="22">
                  <c:v>0.91666666666666663</c:v>
                </c:pt>
                <c:pt idx="23">
                  <c:v>0.95833333333333337</c:v>
                </c:pt>
                <c:pt idx="24">
                  <c:v>1</c:v>
                </c:pt>
                <c:pt idx="25">
                  <c:v>1.0416666666666667</c:v>
                </c:pt>
                <c:pt idx="26">
                  <c:v>1.0833333333333333</c:v>
                </c:pt>
                <c:pt idx="27">
                  <c:v>1.125</c:v>
                </c:pt>
                <c:pt idx="28">
                  <c:v>1.1666666666666667</c:v>
                </c:pt>
                <c:pt idx="29">
                  <c:v>1.2083333333333333</c:v>
                </c:pt>
                <c:pt idx="30">
                  <c:v>1.25</c:v>
                </c:pt>
                <c:pt idx="31">
                  <c:v>1.2916666666666667</c:v>
                </c:pt>
                <c:pt idx="32">
                  <c:v>1.3333333333333333</c:v>
                </c:pt>
                <c:pt idx="33">
                  <c:v>1.375</c:v>
                </c:pt>
                <c:pt idx="34">
                  <c:v>1.4166666666666667</c:v>
                </c:pt>
                <c:pt idx="35">
                  <c:v>1.4583333333333333</c:v>
                </c:pt>
                <c:pt idx="36">
                  <c:v>1.5</c:v>
                </c:pt>
                <c:pt idx="37">
                  <c:v>1.5416666666666667</c:v>
                </c:pt>
                <c:pt idx="38">
                  <c:v>1.5833333333333333</c:v>
                </c:pt>
                <c:pt idx="39">
                  <c:v>1.625</c:v>
                </c:pt>
                <c:pt idx="40">
                  <c:v>1.6666666666666667</c:v>
                </c:pt>
                <c:pt idx="41">
                  <c:v>1.7083333333333333</c:v>
                </c:pt>
                <c:pt idx="42">
                  <c:v>1.75</c:v>
                </c:pt>
                <c:pt idx="43">
                  <c:v>1.7916666666666667</c:v>
                </c:pt>
                <c:pt idx="44">
                  <c:v>1.8333333333333333</c:v>
                </c:pt>
                <c:pt idx="45">
                  <c:v>1.875</c:v>
                </c:pt>
                <c:pt idx="46">
                  <c:v>1.9166666666666667</c:v>
                </c:pt>
                <c:pt idx="47">
                  <c:v>1.9583333333333333</c:v>
                </c:pt>
                <c:pt idx="48">
                  <c:v>2</c:v>
                </c:pt>
                <c:pt idx="49">
                  <c:v>2.0416666666666665</c:v>
                </c:pt>
                <c:pt idx="50">
                  <c:v>2.0833333333333335</c:v>
                </c:pt>
                <c:pt idx="51">
                  <c:v>2.125</c:v>
                </c:pt>
                <c:pt idx="52">
                  <c:v>2.1666666666666665</c:v>
                </c:pt>
                <c:pt idx="53">
                  <c:v>2.2083333333333335</c:v>
                </c:pt>
                <c:pt idx="54">
                  <c:v>2.25</c:v>
                </c:pt>
                <c:pt idx="55">
                  <c:v>2.2916666666666665</c:v>
                </c:pt>
                <c:pt idx="56">
                  <c:v>2.3333333333333335</c:v>
                </c:pt>
                <c:pt idx="57">
                  <c:v>2.375</c:v>
                </c:pt>
                <c:pt idx="58">
                  <c:v>2.4166666666666665</c:v>
                </c:pt>
                <c:pt idx="59">
                  <c:v>2.4583333333333335</c:v>
                </c:pt>
                <c:pt idx="60">
                  <c:v>2.5</c:v>
                </c:pt>
                <c:pt idx="61">
                  <c:v>2.5416666666666665</c:v>
                </c:pt>
                <c:pt idx="62">
                  <c:v>2.5833333333333335</c:v>
                </c:pt>
                <c:pt idx="63">
                  <c:v>2.625</c:v>
                </c:pt>
                <c:pt idx="64">
                  <c:v>2.6666666666666665</c:v>
                </c:pt>
                <c:pt idx="65">
                  <c:v>2.7083333333333335</c:v>
                </c:pt>
                <c:pt idx="66">
                  <c:v>2.75</c:v>
                </c:pt>
                <c:pt idx="67">
                  <c:v>2.7916666666666665</c:v>
                </c:pt>
                <c:pt idx="68">
                  <c:v>2.8333333333333335</c:v>
                </c:pt>
                <c:pt idx="69">
                  <c:v>2.875</c:v>
                </c:pt>
                <c:pt idx="70">
                  <c:v>2.9166666666666665</c:v>
                </c:pt>
                <c:pt idx="71">
                  <c:v>2.9583333333333335</c:v>
                </c:pt>
                <c:pt idx="72">
                  <c:v>3</c:v>
                </c:pt>
                <c:pt idx="73">
                  <c:v>3.0416666666666665</c:v>
                </c:pt>
                <c:pt idx="74">
                  <c:v>3.0833333333333335</c:v>
                </c:pt>
                <c:pt idx="75">
                  <c:v>3.125</c:v>
                </c:pt>
                <c:pt idx="76">
                  <c:v>3.1666666666666665</c:v>
                </c:pt>
                <c:pt idx="77">
                  <c:v>3.2083333333333335</c:v>
                </c:pt>
                <c:pt idx="78">
                  <c:v>3.25</c:v>
                </c:pt>
                <c:pt idx="79">
                  <c:v>3.2916666666666665</c:v>
                </c:pt>
                <c:pt idx="80">
                  <c:v>3.3333333333333335</c:v>
                </c:pt>
                <c:pt idx="81">
                  <c:v>3.375</c:v>
                </c:pt>
                <c:pt idx="82">
                  <c:v>3.4166666666666665</c:v>
                </c:pt>
                <c:pt idx="83">
                  <c:v>3.4583333333333335</c:v>
                </c:pt>
                <c:pt idx="84">
                  <c:v>3.5</c:v>
                </c:pt>
                <c:pt idx="85">
                  <c:v>3.5416666666666665</c:v>
                </c:pt>
                <c:pt idx="86">
                  <c:v>3.5833333333333335</c:v>
                </c:pt>
                <c:pt idx="87">
                  <c:v>3.625</c:v>
                </c:pt>
                <c:pt idx="88">
                  <c:v>3.6666666666666665</c:v>
                </c:pt>
                <c:pt idx="89">
                  <c:v>3.7083333333333335</c:v>
                </c:pt>
                <c:pt idx="90">
                  <c:v>3.75</c:v>
                </c:pt>
                <c:pt idx="91">
                  <c:v>3.7916666666666665</c:v>
                </c:pt>
                <c:pt idx="92">
                  <c:v>3.8333333333333335</c:v>
                </c:pt>
                <c:pt idx="93">
                  <c:v>3.875</c:v>
                </c:pt>
                <c:pt idx="94">
                  <c:v>3.9166666666666665</c:v>
                </c:pt>
                <c:pt idx="95">
                  <c:v>3.9583333333333335</c:v>
                </c:pt>
                <c:pt idx="96">
                  <c:v>4</c:v>
                </c:pt>
                <c:pt idx="97">
                  <c:v>4.041666666666667</c:v>
                </c:pt>
                <c:pt idx="98">
                  <c:v>4.083333333333333</c:v>
                </c:pt>
                <c:pt idx="99">
                  <c:v>4.125</c:v>
                </c:pt>
                <c:pt idx="100">
                  <c:v>4.166666666666667</c:v>
                </c:pt>
                <c:pt idx="101">
                  <c:v>4.208333333333333</c:v>
                </c:pt>
                <c:pt idx="102">
                  <c:v>4.25</c:v>
                </c:pt>
                <c:pt idx="103">
                  <c:v>4.291666666666667</c:v>
                </c:pt>
                <c:pt idx="104">
                  <c:v>4.333333333333333</c:v>
                </c:pt>
                <c:pt idx="105">
                  <c:v>4.375</c:v>
                </c:pt>
                <c:pt idx="106">
                  <c:v>4.416666666666667</c:v>
                </c:pt>
                <c:pt idx="107">
                  <c:v>4.458333333333333</c:v>
                </c:pt>
                <c:pt idx="108">
                  <c:v>4.5</c:v>
                </c:pt>
                <c:pt idx="109">
                  <c:v>4.541666666666667</c:v>
                </c:pt>
                <c:pt idx="110">
                  <c:v>4.583333333333333</c:v>
                </c:pt>
                <c:pt idx="111">
                  <c:v>4.625</c:v>
                </c:pt>
                <c:pt idx="112">
                  <c:v>4.666666666666667</c:v>
                </c:pt>
                <c:pt idx="113">
                  <c:v>4.708333333333333</c:v>
                </c:pt>
                <c:pt idx="114">
                  <c:v>4.75</c:v>
                </c:pt>
                <c:pt idx="115">
                  <c:v>4.791666666666667</c:v>
                </c:pt>
                <c:pt idx="116">
                  <c:v>4.833333333333333</c:v>
                </c:pt>
                <c:pt idx="117">
                  <c:v>4.875</c:v>
                </c:pt>
                <c:pt idx="118">
                  <c:v>4.916666666666667</c:v>
                </c:pt>
                <c:pt idx="119">
                  <c:v>4.958333333333333</c:v>
                </c:pt>
                <c:pt idx="120">
                  <c:v>5</c:v>
                </c:pt>
                <c:pt idx="121">
                  <c:v>5.041666666666667</c:v>
                </c:pt>
                <c:pt idx="122">
                  <c:v>5.083333333333333</c:v>
                </c:pt>
                <c:pt idx="123">
                  <c:v>5.125</c:v>
                </c:pt>
                <c:pt idx="124">
                  <c:v>5.166666666666667</c:v>
                </c:pt>
                <c:pt idx="125">
                  <c:v>5.208333333333333</c:v>
                </c:pt>
                <c:pt idx="126">
                  <c:v>5.25</c:v>
                </c:pt>
                <c:pt idx="127">
                  <c:v>5.291666666666667</c:v>
                </c:pt>
                <c:pt idx="128">
                  <c:v>5.333333333333333</c:v>
                </c:pt>
                <c:pt idx="129">
                  <c:v>5.375</c:v>
                </c:pt>
                <c:pt idx="130">
                  <c:v>5.416666666666667</c:v>
                </c:pt>
                <c:pt idx="131">
                  <c:v>5.458333333333333</c:v>
                </c:pt>
                <c:pt idx="132">
                  <c:v>5.5</c:v>
                </c:pt>
                <c:pt idx="133">
                  <c:v>5.541666666666667</c:v>
                </c:pt>
                <c:pt idx="134">
                  <c:v>5.583333333333333</c:v>
                </c:pt>
                <c:pt idx="135">
                  <c:v>5.625</c:v>
                </c:pt>
                <c:pt idx="136">
                  <c:v>5.666666666666667</c:v>
                </c:pt>
                <c:pt idx="137">
                  <c:v>5.708333333333333</c:v>
                </c:pt>
                <c:pt idx="138">
                  <c:v>5.75</c:v>
                </c:pt>
                <c:pt idx="139">
                  <c:v>5.791666666666667</c:v>
                </c:pt>
                <c:pt idx="140">
                  <c:v>5.833333333333333</c:v>
                </c:pt>
                <c:pt idx="141">
                  <c:v>5.875</c:v>
                </c:pt>
                <c:pt idx="142">
                  <c:v>5.916666666666667</c:v>
                </c:pt>
                <c:pt idx="143">
                  <c:v>5.958333333333333</c:v>
                </c:pt>
                <c:pt idx="144">
                  <c:v>6</c:v>
                </c:pt>
                <c:pt idx="145">
                  <c:v>6.041666666666667</c:v>
                </c:pt>
                <c:pt idx="146">
                  <c:v>6.083333333333333</c:v>
                </c:pt>
                <c:pt idx="147">
                  <c:v>6.125</c:v>
                </c:pt>
                <c:pt idx="148">
                  <c:v>6.166666666666667</c:v>
                </c:pt>
                <c:pt idx="149">
                  <c:v>6.208333333333333</c:v>
                </c:pt>
                <c:pt idx="150">
                  <c:v>6.25</c:v>
                </c:pt>
                <c:pt idx="151">
                  <c:v>6.291666666666667</c:v>
                </c:pt>
                <c:pt idx="152">
                  <c:v>6.333333333333333</c:v>
                </c:pt>
                <c:pt idx="153">
                  <c:v>6.375</c:v>
                </c:pt>
                <c:pt idx="154">
                  <c:v>6.416666666666667</c:v>
                </c:pt>
                <c:pt idx="155">
                  <c:v>6.458333333333333</c:v>
                </c:pt>
                <c:pt idx="156">
                  <c:v>6.5</c:v>
                </c:pt>
                <c:pt idx="157">
                  <c:v>6.541666666666667</c:v>
                </c:pt>
                <c:pt idx="158">
                  <c:v>6.583333333333333</c:v>
                </c:pt>
                <c:pt idx="159">
                  <c:v>6.625</c:v>
                </c:pt>
                <c:pt idx="160">
                  <c:v>6.666666666666667</c:v>
                </c:pt>
                <c:pt idx="161">
                  <c:v>6.708333333333333</c:v>
                </c:pt>
                <c:pt idx="162">
                  <c:v>6.75</c:v>
                </c:pt>
                <c:pt idx="163">
                  <c:v>6.791666666666667</c:v>
                </c:pt>
                <c:pt idx="164">
                  <c:v>6.833333333333333</c:v>
                </c:pt>
                <c:pt idx="165">
                  <c:v>6.875</c:v>
                </c:pt>
                <c:pt idx="166">
                  <c:v>6.916666666666667</c:v>
                </c:pt>
                <c:pt idx="167">
                  <c:v>6.958333333333333</c:v>
                </c:pt>
                <c:pt idx="168">
                  <c:v>7</c:v>
                </c:pt>
                <c:pt idx="169">
                  <c:v>7.041666666666667</c:v>
                </c:pt>
                <c:pt idx="170">
                  <c:v>7.083333333333333</c:v>
                </c:pt>
                <c:pt idx="171">
                  <c:v>7.125</c:v>
                </c:pt>
                <c:pt idx="172">
                  <c:v>7.166666666666667</c:v>
                </c:pt>
                <c:pt idx="173">
                  <c:v>7.208333333333333</c:v>
                </c:pt>
                <c:pt idx="174">
                  <c:v>7.25</c:v>
                </c:pt>
                <c:pt idx="175">
                  <c:v>7.291666666666667</c:v>
                </c:pt>
                <c:pt idx="176">
                  <c:v>7.333333333333333</c:v>
                </c:pt>
                <c:pt idx="177">
                  <c:v>7.375</c:v>
                </c:pt>
                <c:pt idx="178">
                  <c:v>7.416666666666667</c:v>
                </c:pt>
                <c:pt idx="179">
                  <c:v>7.458333333333333</c:v>
                </c:pt>
                <c:pt idx="180">
                  <c:v>7.5</c:v>
                </c:pt>
                <c:pt idx="181">
                  <c:v>7.541666666666667</c:v>
                </c:pt>
                <c:pt idx="182">
                  <c:v>7.583333333333333</c:v>
                </c:pt>
                <c:pt idx="183">
                  <c:v>7.625</c:v>
                </c:pt>
                <c:pt idx="184">
                  <c:v>7.666666666666667</c:v>
                </c:pt>
                <c:pt idx="185">
                  <c:v>7.708333333333333</c:v>
                </c:pt>
                <c:pt idx="186">
                  <c:v>7.75</c:v>
                </c:pt>
                <c:pt idx="187">
                  <c:v>7.791666666666667</c:v>
                </c:pt>
                <c:pt idx="188">
                  <c:v>7.833333333333333</c:v>
                </c:pt>
                <c:pt idx="189">
                  <c:v>7.875</c:v>
                </c:pt>
                <c:pt idx="190">
                  <c:v>7.916666666666667</c:v>
                </c:pt>
                <c:pt idx="191">
                  <c:v>7.958333333333333</c:v>
                </c:pt>
                <c:pt idx="192">
                  <c:v>8</c:v>
                </c:pt>
                <c:pt idx="193">
                  <c:v>8.0416666666666661</c:v>
                </c:pt>
                <c:pt idx="194">
                  <c:v>8.0833333333333339</c:v>
                </c:pt>
                <c:pt idx="195">
                  <c:v>8.125</c:v>
                </c:pt>
                <c:pt idx="196">
                  <c:v>8.1666666666666661</c:v>
                </c:pt>
                <c:pt idx="197">
                  <c:v>8.2083333333333339</c:v>
                </c:pt>
                <c:pt idx="198">
                  <c:v>8.25</c:v>
                </c:pt>
                <c:pt idx="199">
                  <c:v>8.2916666666666661</c:v>
                </c:pt>
                <c:pt idx="200">
                  <c:v>8.3333333333333339</c:v>
                </c:pt>
                <c:pt idx="201">
                  <c:v>8.375</c:v>
                </c:pt>
                <c:pt idx="202">
                  <c:v>8.4166666666666661</c:v>
                </c:pt>
                <c:pt idx="203">
                  <c:v>8.4583333333333339</c:v>
                </c:pt>
                <c:pt idx="204">
                  <c:v>8.5</c:v>
                </c:pt>
                <c:pt idx="205">
                  <c:v>8.5416666666666661</c:v>
                </c:pt>
                <c:pt idx="206">
                  <c:v>8.5833333333333339</c:v>
                </c:pt>
                <c:pt idx="207">
                  <c:v>8.625</c:v>
                </c:pt>
                <c:pt idx="208">
                  <c:v>8.6666666666666661</c:v>
                </c:pt>
                <c:pt idx="209">
                  <c:v>8.7083333333333339</c:v>
                </c:pt>
                <c:pt idx="210">
                  <c:v>8.75</c:v>
                </c:pt>
                <c:pt idx="211">
                  <c:v>8.7916666666666661</c:v>
                </c:pt>
                <c:pt idx="212">
                  <c:v>8.8333333333333339</c:v>
                </c:pt>
                <c:pt idx="213">
                  <c:v>8.875</c:v>
                </c:pt>
                <c:pt idx="214">
                  <c:v>8.9166666666666661</c:v>
                </c:pt>
                <c:pt idx="215">
                  <c:v>8.9583333333333339</c:v>
                </c:pt>
                <c:pt idx="216">
                  <c:v>9</c:v>
                </c:pt>
                <c:pt idx="217">
                  <c:v>9.0416666666666661</c:v>
                </c:pt>
                <c:pt idx="218">
                  <c:v>9.0833333333333339</c:v>
                </c:pt>
                <c:pt idx="219">
                  <c:v>9.125</c:v>
                </c:pt>
                <c:pt idx="220">
                  <c:v>9.1666666666666661</c:v>
                </c:pt>
                <c:pt idx="221">
                  <c:v>9.2083333333333339</c:v>
                </c:pt>
                <c:pt idx="222">
                  <c:v>9.25</c:v>
                </c:pt>
                <c:pt idx="223">
                  <c:v>9.2916666666666661</c:v>
                </c:pt>
                <c:pt idx="224">
                  <c:v>9.3333333333333339</c:v>
                </c:pt>
                <c:pt idx="225">
                  <c:v>9.375</c:v>
                </c:pt>
                <c:pt idx="226">
                  <c:v>9.4166666666666661</c:v>
                </c:pt>
                <c:pt idx="227">
                  <c:v>9.4583333333333339</c:v>
                </c:pt>
                <c:pt idx="228">
                  <c:v>9.5</c:v>
                </c:pt>
                <c:pt idx="229">
                  <c:v>9.5416666666666661</c:v>
                </c:pt>
                <c:pt idx="230">
                  <c:v>9.5833333333333339</c:v>
                </c:pt>
                <c:pt idx="231">
                  <c:v>9.625</c:v>
                </c:pt>
                <c:pt idx="232">
                  <c:v>9.6666666666666661</c:v>
                </c:pt>
                <c:pt idx="233">
                  <c:v>9.7083333333333339</c:v>
                </c:pt>
                <c:pt idx="234">
                  <c:v>9.75</c:v>
                </c:pt>
                <c:pt idx="235">
                  <c:v>9.7916666666666661</c:v>
                </c:pt>
                <c:pt idx="236">
                  <c:v>9.8333333333333339</c:v>
                </c:pt>
                <c:pt idx="237">
                  <c:v>9.875</c:v>
                </c:pt>
                <c:pt idx="238">
                  <c:v>9.9166666666666661</c:v>
                </c:pt>
                <c:pt idx="239">
                  <c:v>9.9583333333333339</c:v>
                </c:pt>
                <c:pt idx="240">
                  <c:v>10</c:v>
                </c:pt>
                <c:pt idx="241">
                  <c:v>10.041666666666666</c:v>
                </c:pt>
                <c:pt idx="242">
                  <c:v>10.083333333333334</c:v>
                </c:pt>
                <c:pt idx="243">
                  <c:v>10.125</c:v>
                </c:pt>
                <c:pt idx="244">
                  <c:v>10.166666666666666</c:v>
                </c:pt>
                <c:pt idx="245">
                  <c:v>10.208333333333334</c:v>
                </c:pt>
                <c:pt idx="246">
                  <c:v>10.25</c:v>
                </c:pt>
                <c:pt idx="247">
                  <c:v>10.291666666666666</c:v>
                </c:pt>
                <c:pt idx="248">
                  <c:v>10.333333333333334</c:v>
                </c:pt>
                <c:pt idx="249">
                  <c:v>10.375</c:v>
                </c:pt>
                <c:pt idx="250">
                  <c:v>10.416666666666666</c:v>
                </c:pt>
                <c:pt idx="251">
                  <c:v>10.458333333333334</c:v>
                </c:pt>
                <c:pt idx="252">
                  <c:v>10.5</c:v>
                </c:pt>
                <c:pt idx="253">
                  <c:v>10.541666666666666</c:v>
                </c:pt>
                <c:pt idx="254">
                  <c:v>10.583333333333334</c:v>
                </c:pt>
                <c:pt idx="255">
                  <c:v>10.625</c:v>
                </c:pt>
                <c:pt idx="256">
                  <c:v>10.666666666666666</c:v>
                </c:pt>
                <c:pt idx="257">
                  <c:v>10.708333333333334</c:v>
                </c:pt>
                <c:pt idx="258">
                  <c:v>10.75</c:v>
                </c:pt>
                <c:pt idx="259">
                  <c:v>10.791666666666666</c:v>
                </c:pt>
                <c:pt idx="260">
                  <c:v>10.833333333333334</c:v>
                </c:pt>
                <c:pt idx="261">
                  <c:v>10.875</c:v>
                </c:pt>
                <c:pt idx="262">
                  <c:v>10.916666666666666</c:v>
                </c:pt>
                <c:pt idx="263">
                  <c:v>10.958333333333334</c:v>
                </c:pt>
                <c:pt idx="264">
                  <c:v>11</c:v>
                </c:pt>
                <c:pt idx="265">
                  <c:v>11.041666666666666</c:v>
                </c:pt>
                <c:pt idx="266">
                  <c:v>11.083333333333334</c:v>
                </c:pt>
                <c:pt idx="267">
                  <c:v>11.125</c:v>
                </c:pt>
                <c:pt idx="268">
                  <c:v>11.166666666666666</c:v>
                </c:pt>
                <c:pt idx="269">
                  <c:v>11.208333333333334</c:v>
                </c:pt>
                <c:pt idx="270">
                  <c:v>11.25</c:v>
                </c:pt>
                <c:pt idx="271">
                  <c:v>11.291666666666666</c:v>
                </c:pt>
                <c:pt idx="272">
                  <c:v>11.333333333333334</c:v>
                </c:pt>
                <c:pt idx="273">
                  <c:v>11.375</c:v>
                </c:pt>
                <c:pt idx="274">
                  <c:v>11.416666666666666</c:v>
                </c:pt>
                <c:pt idx="275">
                  <c:v>11.458333333333334</c:v>
                </c:pt>
                <c:pt idx="276">
                  <c:v>11.5</c:v>
                </c:pt>
                <c:pt idx="277">
                  <c:v>11.541666666666666</c:v>
                </c:pt>
                <c:pt idx="278">
                  <c:v>11.583333333333334</c:v>
                </c:pt>
                <c:pt idx="279">
                  <c:v>11.625</c:v>
                </c:pt>
                <c:pt idx="280">
                  <c:v>11.666666666666666</c:v>
                </c:pt>
                <c:pt idx="281">
                  <c:v>11.708333333333334</c:v>
                </c:pt>
                <c:pt idx="282">
                  <c:v>11.75</c:v>
                </c:pt>
                <c:pt idx="283">
                  <c:v>11.791666666666666</c:v>
                </c:pt>
                <c:pt idx="284">
                  <c:v>11.833333333333334</c:v>
                </c:pt>
                <c:pt idx="285">
                  <c:v>11.875</c:v>
                </c:pt>
                <c:pt idx="286">
                  <c:v>11.916666666666666</c:v>
                </c:pt>
                <c:pt idx="287">
                  <c:v>11.958333333333334</c:v>
                </c:pt>
                <c:pt idx="288">
                  <c:v>12</c:v>
                </c:pt>
                <c:pt idx="289">
                  <c:v>12.041666666666666</c:v>
                </c:pt>
                <c:pt idx="290">
                  <c:v>12.083333333333334</c:v>
                </c:pt>
                <c:pt idx="291">
                  <c:v>12.125</c:v>
                </c:pt>
                <c:pt idx="292">
                  <c:v>12.166666666666666</c:v>
                </c:pt>
                <c:pt idx="293">
                  <c:v>12.208333333333334</c:v>
                </c:pt>
                <c:pt idx="294">
                  <c:v>12.25</c:v>
                </c:pt>
                <c:pt idx="295">
                  <c:v>12.291666666666666</c:v>
                </c:pt>
                <c:pt idx="296">
                  <c:v>12.333333333333334</c:v>
                </c:pt>
                <c:pt idx="297">
                  <c:v>12.375</c:v>
                </c:pt>
                <c:pt idx="298">
                  <c:v>12.416666666666666</c:v>
                </c:pt>
                <c:pt idx="299">
                  <c:v>12.458333333333334</c:v>
                </c:pt>
                <c:pt idx="300">
                  <c:v>12.5</c:v>
                </c:pt>
                <c:pt idx="301">
                  <c:v>12.541666666666666</c:v>
                </c:pt>
                <c:pt idx="302">
                  <c:v>12.583333333333334</c:v>
                </c:pt>
                <c:pt idx="303">
                  <c:v>12.625</c:v>
                </c:pt>
                <c:pt idx="304">
                  <c:v>12.666666666666666</c:v>
                </c:pt>
                <c:pt idx="305">
                  <c:v>12.708333333333334</c:v>
                </c:pt>
                <c:pt idx="306">
                  <c:v>12.75</c:v>
                </c:pt>
                <c:pt idx="307">
                  <c:v>12.791666666666666</c:v>
                </c:pt>
                <c:pt idx="308">
                  <c:v>12.833333333333334</c:v>
                </c:pt>
                <c:pt idx="309">
                  <c:v>12.875</c:v>
                </c:pt>
                <c:pt idx="310">
                  <c:v>12.916666666666666</c:v>
                </c:pt>
                <c:pt idx="311">
                  <c:v>12.958333333333334</c:v>
                </c:pt>
                <c:pt idx="312">
                  <c:v>13</c:v>
                </c:pt>
                <c:pt idx="313">
                  <c:v>13.041666666666666</c:v>
                </c:pt>
                <c:pt idx="314">
                  <c:v>13.083333333333334</c:v>
                </c:pt>
                <c:pt idx="315">
                  <c:v>13.125</c:v>
                </c:pt>
                <c:pt idx="316">
                  <c:v>13.166666666666666</c:v>
                </c:pt>
                <c:pt idx="317">
                  <c:v>13.208333333333334</c:v>
                </c:pt>
                <c:pt idx="318">
                  <c:v>13.25</c:v>
                </c:pt>
                <c:pt idx="319">
                  <c:v>13.291666666666666</c:v>
                </c:pt>
                <c:pt idx="320">
                  <c:v>13.333333333333334</c:v>
                </c:pt>
                <c:pt idx="321">
                  <c:v>13.375</c:v>
                </c:pt>
                <c:pt idx="322">
                  <c:v>13.416666666666666</c:v>
                </c:pt>
                <c:pt idx="323">
                  <c:v>13.458333333333334</c:v>
                </c:pt>
                <c:pt idx="324">
                  <c:v>13.5</c:v>
                </c:pt>
                <c:pt idx="325">
                  <c:v>13.541666666666666</c:v>
                </c:pt>
                <c:pt idx="326">
                  <c:v>13.583333333333334</c:v>
                </c:pt>
                <c:pt idx="327">
                  <c:v>13.625</c:v>
                </c:pt>
                <c:pt idx="328">
                  <c:v>13.666666666666666</c:v>
                </c:pt>
                <c:pt idx="329">
                  <c:v>13.708333333333334</c:v>
                </c:pt>
                <c:pt idx="330">
                  <c:v>13.75</c:v>
                </c:pt>
                <c:pt idx="331">
                  <c:v>13.791666666666666</c:v>
                </c:pt>
                <c:pt idx="332">
                  <c:v>13.833333333333334</c:v>
                </c:pt>
                <c:pt idx="333">
                  <c:v>13.833333333333334</c:v>
                </c:pt>
              </c:numCache>
            </c:numRef>
          </c:xVal>
          <c:yVal>
            <c:numRef>
              <c:f>'p average fresh vs. stored'!$I$5:$I$337</c:f>
              <c:numCache>
                <c:formatCode>General</c:formatCode>
                <c:ptCount val="333"/>
                <c:pt idx="0">
                  <c:v>0</c:v>
                </c:pt>
                <c:pt idx="1">
                  <c:v>65.666666666666671</c:v>
                </c:pt>
                <c:pt idx="2">
                  <c:v>83.333333333333329</c:v>
                </c:pt>
                <c:pt idx="3">
                  <c:v>94.666666666666671</c:v>
                </c:pt>
                <c:pt idx="4">
                  <c:v>103.33333333333333</c:v>
                </c:pt>
                <c:pt idx="5">
                  <c:v>108.66666666666667</c:v>
                </c:pt>
                <c:pt idx="6">
                  <c:v>111.33333333333333</c:v>
                </c:pt>
                <c:pt idx="7">
                  <c:v>113.33333333333333</c:v>
                </c:pt>
                <c:pt idx="8">
                  <c:v>114.66666666666667</c:v>
                </c:pt>
                <c:pt idx="9">
                  <c:v>115</c:v>
                </c:pt>
                <c:pt idx="10">
                  <c:v>115.66666666666667</c:v>
                </c:pt>
                <c:pt idx="11">
                  <c:v>116.33333333333333</c:v>
                </c:pt>
                <c:pt idx="12">
                  <c:v>116.66666666666667</c:v>
                </c:pt>
                <c:pt idx="13">
                  <c:v>116.66666666666667</c:v>
                </c:pt>
                <c:pt idx="14">
                  <c:v>117.33333333333333</c:v>
                </c:pt>
                <c:pt idx="15">
                  <c:v>117.66666666666667</c:v>
                </c:pt>
                <c:pt idx="16">
                  <c:v>118</c:v>
                </c:pt>
                <c:pt idx="17">
                  <c:v>118.66666666666667</c:v>
                </c:pt>
                <c:pt idx="18">
                  <c:v>119.66666666666667</c:v>
                </c:pt>
                <c:pt idx="19">
                  <c:v>120</c:v>
                </c:pt>
                <c:pt idx="20">
                  <c:v>120.66666666666667</c:v>
                </c:pt>
                <c:pt idx="21">
                  <c:v>121</c:v>
                </c:pt>
                <c:pt idx="22">
                  <c:v>117.66666666666667</c:v>
                </c:pt>
                <c:pt idx="23">
                  <c:v>123</c:v>
                </c:pt>
                <c:pt idx="24">
                  <c:v>128</c:v>
                </c:pt>
                <c:pt idx="25">
                  <c:v>133</c:v>
                </c:pt>
                <c:pt idx="26">
                  <c:v>137</c:v>
                </c:pt>
                <c:pt idx="27">
                  <c:v>140</c:v>
                </c:pt>
                <c:pt idx="28">
                  <c:v>144.33333333333334</c:v>
                </c:pt>
                <c:pt idx="29">
                  <c:v>147.66666666666666</c:v>
                </c:pt>
                <c:pt idx="30">
                  <c:v>150</c:v>
                </c:pt>
                <c:pt idx="31">
                  <c:v>152.66666666666666</c:v>
                </c:pt>
                <c:pt idx="32">
                  <c:v>154.66666666666666</c:v>
                </c:pt>
                <c:pt idx="33">
                  <c:v>156.33333333333334</c:v>
                </c:pt>
                <c:pt idx="34">
                  <c:v>157.33333333333334</c:v>
                </c:pt>
                <c:pt idx="35">
                  <c:v>159</c:v>
                </c:pt>
                <c:pt idx="36">
                  <c:v>159.33333333333334</c:v>
                </c:pt>
                <c:pt idx="37">
                  <c:v>160.33333333333334</c:v>
                </c:pt>
                <c:pt idx="38">
                  <c:v>161.33333333333334</c:v>
                </c:pt>
                <c:pt idx="39">
                  <c:v>162.33333333333334</c:v>
                </c:pt>
                <c:pt idx="40">
                  <c:v>162.33333333333334</c:v>
                </c:pt>
                <c:pt idx="41">
                  <c:v>164</c:v>
                </c:pt>
                <c:pt idx="42">
                  <c:v>164.33333333333334</c:v>
                </c:pt>
                <c:pt idx="43">
                  <c:v>165</c:v>
                </c:pt>
                <c:pt idx="44">
                  <c:v>165.66666666666666</c:v>
                </c:pt>
                <c:pt idx="45">
                  <c:v>167.33333333333334</c:v>
                </c:pt>
                <c:pt idx="46">
                  <c:v>168.66666666666666</c:v>
                </c:pt>
                <c:pt idx="47">
                  <c:v>168.33333333333334</c:v>
                </c:pt>
                <c:pt idx="48">
                  <c:v>172</c:v>
                </c:pt>
                <c:pt idx="49">
                  <c:v>174.66666666666666</c:v>
                </c:pt>
                <c:pt idx="50">
                  <c:v>177</c:v>
                </c:pt>
                <c:pt idx="51">
                  <c:v>178.33333333333334</c:v>
                </c:pt>
                <c:pt idx="52">
                  <c:v>180.33333333333334</c:v>
                </c:pt>
                <c:pt idx="53">
                  <c:v>181.33333333333334</c:v>
                </c:pt>
                <c:pt idx="54">
                  <c:v>182.66666666666666</c:v>
                </c:pt>
                <c:pt idx="55">
                  <c:v>183</c:v>
                </c:pt>
                <c:pt idx="56">
                  <c:v>183</c:v>
                </c:pt>
                <c:pt idx="57">
                  <c:v>183.66666666666666</c:v>
                </c:pt>
                <c:pt idx="58">
                  <c:v>184.33333333333334</c:v>
                </c:pt>
                <c:pt idx="59">
                  <c:v>184.66666666666666</c:v>
                </c:pt>
                <c:pt idx="60">
                  <c:v>185</c:v>
                </c:pt>
                <c:pt idx="61">
                  <c:v>185.66666666666666</c:v>
                </c:pt>
                <c:pt idx="62">
                  <c:v>185.66666666666666</c:v>
                </c:pt>
                <c:pt idx="63">
                  <c:v>186.33333333333334</c:v>
                </c:pt>
                <c:pt idx="64">
                  <c:v>187</c:v>
                </c:pt>
                <c:pt idx="65">
                  <c:v>187.66666666666666</c:v>
                </c:pt>
                <c:pt idx="66">
                  <c:v>188.66666666666666</c:v>
                </c:pt>
                <c:pt idx="67">
                  <c:v>189.66666666666666</c:v>
                </c:pt>
                <c:pt idx="68">
                  <c:v>190.33333333333334</c:v>
                </c:pt>
                <c:pt idx="69">
                  <c:v>191.33333333333334</c:v>
                </c:pt>
                <c:pt idx="70">
                  <c:v>218.66666666666666</c:v>
                </c:pt>
                <c:pt idx="71">
                  <c:v>224.33333333333334</c:v>
                </c:pt>
                <c:pt idx="72">
                  <c:v>229.33333333333334</c:v>
                </c:pt>
                <c:pt idx="73">
                  <c:v>234.66666666666666</c:v>
                </c:pt>
                <c:pt idx="74">
                  <c:v>239.33333333333334</c:v>
                </c:pt>
                <c:pt idx="75">
                  <c:v>243</c:v>
                </c:pt>
                <c:pt idx="76">
                  <c:v>247</c:v>
                </c:pt>
                <c:pt idx="77">
                  <c:v>249.66666666666666</c:v>
                </c:pt>
                <c:pt idx="78">
                  <c:v>252.66666666666666</c:v>
                </c:pt>
                <c:pt idx="79">
                  <c:v>254.66666666666666</c:v>
                </c:pt>
                <c:pt idx="80">
                  <c:v>257.33333333333331</c:v>
                </c:pt>
                <c:pt idx="81">
                  <c:v>258.66666666666669</c:v>
                </c:pt>
                <c:pt idx="82">
                  <c:v>260</c:v>
                </c:pt>
                <c:pt idx="83">
                  <c:v>261.66666666666669</c:v>
                </c:pt>
                <c:pt idx="84">
                  <c:v>263</c:v>
                </c:pt>
                <c:pt idx="85">
                  <c:v>264</c:v>
                </c:pt>
                <c:pt idx="86">
                  <c:v>264.66666666666669</c:v>
                </c:pt>
                <c:pt idx="87">
                  <c:v>265.33333333333331</c:v>
                </c:pt>
                <c:pt idx="88">
                  <c:v>266.33333333333331</c:v>
                </c:pt>
                <c:pt idx="89">
                  <c:v>267.33333333333331</c:v>
                </c:pt>
                <c:pt idx="90">
                  <c:v>268</c:v>
                </c:pt>
                <c:pt idx="91">
                  <c:v>269</c:v>
                </c:pt>
                <c:pt idx="92">
                  <c:v>270.66666666666669</c:v>
                </c:pt>
                <c:pt idx="93">
                  <c:v>271.66666666666669</c:v>
                </c:pt>
                <c:pt idx="94">
                  <c:v>273.33333333333331</c:v>
                </c:pt>
                <c:pt idx="95">
                  <c:v>275.33333333333331</c:v>
                </c:pt>
                <c:pt idx="96">
                  <c:v>278</c:v>
                </c:pt>
                <c:pt idx="97">
                  <c:v>280</c:v>
                </c:pt>
                <c:pt idx="98">
                  <c:v>282</c:v>
                </c:pt>
                <c:pt idx="99">
                  <c:v>284</c:v>
                </c:pt>
                <c:pt idx="100">
                  <c:v>286</c:v>
                </c:pt>
                <c:pt idx="101">
                  <c:v>287</c:v>
                </c:pt>
                <c:pt idx="102">
                  <c:v>288</c:v>
                </c:pt>
                <c:pt idx="103">
                  <c:v>289</c:v>
                </c:pt>
                <c:pt idx="104">
                  <c:v>289.33333333333331</c:v>
                </c:pt>
                <c:pt idx="105">
                  <c:v>290</c:v>
                </c:pt>
                <c:pt idx="106">
                  <c:v>291</c:v>
                </c:pt>
                <c:pt idx="107">
                  <c:v>291.33333333333331</c:v>
                </c:pt>
                <c:pt idx="108">
                  <c:v>292</c:v>
                </c:pt>
                <c:pt idx="109">
                  <c:v>292</c:v>
                </c:pt>
                <c:pt idx="110">
                  <c:v>292.66666666666669</c:v>
                </c:pt>
                <c:pt idx="111">
                  <c:v>293.66666666666669</c:v>
                </c:pt>
                <c:pt idx="112">
                  <c:v>294</c:v>
                </c:pt>
                <c:pt idx="113">
                  <c:v>294.33333333333331</c:v>
                </c:pt>
                <c:pt idx="114">
                  <c:v>295.33333333333331</c:v>
                </c:pt>
                <c:pt idx="115">
                  <c:v>296.33333333333331</c:v>
                </c:pt>
                <c:pt idx="116">
                  <c:v>297.66666666666669</c:v>
                </c:pt>
                <c:pt idx="117">
                  <c:v>299</c:v>
                </c:pt>
                <c:pt idx="118">
                  <c:v>301</c:v>
                </c:pt>
                <c:pt idx="119">
                  <c:v>303</c:v>
                </c:pt>
                <c:pt idx="120">
                  <c:v>304</c:v>
                </c:pt>
                <c:pt idx="121">
                  <c:v>306</c:v>
                </c:pt>
                <c:pt idx="122">
                  <c:v>308</c:v>
                </c:pt>
                <c:pt idx="123">
                  <c:v>309.66666666666669</c:v>
                </c:pt>
                <c:pt idx="124">
                  <c:v>311.66666666666669</c:v>
                </c:pt>
                <c:pt idx="125">
                  <c:v>312.66666666666669</c:v>
                </c:pt>
                <c:pt idx="126">
                  <c:v>313.66666666666669</c:v>
                </c:pt>
                <c:pt idx="127">
                  <c:v>314.33333333333331</c:v>
                </c:pt>
                <c:pt idx="128">
                  <c:v>315.33333333333331</c:v>
                </c:pt>
                <c:pt idx="129">
                  <c:v>315.66666666666669</c:v>
                </c:pt>
                <c:pt idx="130">
                  <c:v>316.33333333333331</c:v>
                </c:pt>
                <c:pt idx="131">
                  <c:v>317</c:v>
                </c:pt>
                <c:pt idx="132">
                  <c:v>317.33333333333331</c:v>
                </c:pt>
                <c:pt idx="133">
                  <c:v>317.33333333333331</c:v>
                </c:pt>
                <c:pt idx="134">
                  <c:v>318</c:v>
                </c:pt>
                <c:pt idx="135">
                  <c:v>318.66666666666669</c:v>
                </c:pt>
                <c:pt idx="136">
                  <c:v>319</c:v>
                </c:pt>
                <c:pt idx="137">
                  <c:v>320</c:v>
                </c:pt>
                <c:pt idx="138">
                  <c:v>320.66666666666669</c:v>
                </c:pt>
                <c:pt idx="139">
                  <c:v>321.33333333333331</c:v>
                </c:pt>
                <c:pt idx="140">
                  <c:v>322.66666666666669</c:v>
                </c:pt>
                <c:pt idx="141">
                  <c:v>324</c:v>
                </c:pt>
                <c:pt idx="142">
                  <c:v>325</c:v>
                </c:pt>
                <c:pt idx="143">
                  <c:v>326.66666666666669</c:v>
                </c:pt>
                <c:pt idx="144">
                  <c:v>328</c:v>
                </c:pt>
                <c:pt idx="145">
                  <c:v>329</c:v>
                </c:pt>
                <c:pt idx="146">
                  <c:v>329.66666666666669</c:v>
                </c:pt>
                <c:pt idx="147">
                  <c:v>330.33333333333331</c:v>
                </c:pt>
                <c:pt idx="148">
                  <c:v>331</c:v>
                </c:pt>
                <c:pt idx="149">
                  <c:v>331.33333333333331</c:v>
                </c:pt>
                <c:pt idx="150">
                  <c:v>332.33333333333331</c:v>
                </c:pt>
                <c:pt idx="151">
                  <c:v>332.33333333333331</c:v>
                </c:pt>
                <c:pt idx="152">
                  <c:v>332.66666666666669</c:v>
                </c:pt>
                <c:pt idx="153">
                  <c:v>332.66666666666669</c:v>
                </c:pt>
                <c:pt idx="154">
                  <c:v>333.33333333333331</c:v>
                </c:pt>
                <c:pt idx="155">
                  <c:v>333.33333333333331</c:v>
                </c:pt>
                <c:pt idx="156">
                  <c:v>333.66666666666669</c:v>
                </c:pt>
                <c:pt idx="157">
                  <c:v>334.33333333333331</c:v>
                </c:pt>
                <c:pt idx="158">
                  <c:v>334.66666666666669</c:v>
                </c:pt>
                <c:pt idx="159">
                  <c:v>334.66666666666669</c:v>
                </c:pt>
                <c:pt idx="160">
                  <c:v>334.66666666666669</c:v>
                </c:pt>
                <c:pt idx="161">
                  <c:v>335</c:v>
                </c:pt>
                <c:pt idx="162">
                  <c:v>335.66666666666669</c:v>
                </c:pt>
                <c:pt idx="163">
                  <c:v>335.66666666666669</c:v>
                </c:pt>
                <c:pt idx="164">
                  <c:v>336</c:v>
                </c:pt>
                <c:pt idx="165">
                  <c:v>337</c:v>
                </c:pt>
                <c:pt idx="166">
                  <c:v>337.33333333333331</c:v>
                </c:pt>
                <c:pt idx="167">
                  <c:v>333.33333333333331</c:v>
                </c:pt>
                <c:pt idx="168">
                  <c:v>334.66666666666669</c:v>
                </c:pt>
                <c:pt idx="169">
                  <c:v>336.66666666666669</c:v>
                </c:pt>
                <c:pt idx="170">
                  <c:v>338.66666666666669</c:v>
                </c:pt>
                <c:pt idx="171">
                  <c:v>340.33333333333331</c:v>
                </c:pt>
                <c:pt idx="172">
                  <c:v>342</c:v>
                </c:pt>
                <c:pt idx="173">
                  <c:v>342.66666666666669</c:v>
                </c:pt>
                <c:pt idx="174">
                  <c:v>343</c:v>
                </c:pt>
                <c:pt idx="175">
                  <c:v>343</c:v>
                </c:pt>
                <c:pt idx="176">
                  <c:v>343.33333333333331</c:v>
                </c:pt>
                <c:pt idx="177">
                  <c:v>344</c:v>
                </c:pt>
                <c:pt idx="178">
                  <c:v>343.66666666666669</c:v>
                </c:pt>
                <c:pt idx="179">
                  <c:v>343.66666666666669</c:v>
                </c:pt>
                <c:pt idx="180">
                  <c:v>344</c:v>
                </c:pt>
                <c:pt idx="181">
                  <c:v>343.66666666666669</c:v>
                </c:pt>
                <c:pt idx="182">
                  <c:v>343.66666666666669</c:v>
                </c:pt>
                <c:pt idx="183">
                  <c:v>343.33333333333331</c:v>
                </c:pt>
                <c:pt idx="184">
                  <c:v>343.66666666666669</c:v>
                </c:pt>
                <c:pt idx="185">
                  <c:v>344</c:v>
                </c:pt>
                <c:pt idx="186">
                  <c:v>344</c:v>
                </c:pt>
                <c:pt idx="187">
                  <c:v>344</c:v>
                </c:pt>
                <c:pt idx="188">
                  <c:v>344.66666666666669</c:v>
                </c:pt>
                <c:pt idx="189">
                  <c:v>346</c:v>
                </c:pt>
                <c:pt idx="190">
                  <c:v>347.66666666666669</c:v>
                </c:pt>
                <c:pt idx="191">
                  <c:v>349.33333333333331</c:v>
                </c:pt>
                <c:pt idx="192">
                  <c:v>350</c:v>
                </c:pt>
                <c:pt idx="193">
                  <c:v>351.33333333333331</c:v>
                </c:pt>
                <c:pt idx="194">
                  <c:v>353.33333333333331</c:v>
                </c:pt>
                <c:pt idx="195">
                  <c:v>354.33333333333331</c:v>
                </c:pt>
                <c:pt idx="196">
                  <c:v>354.66666666666669</c:v>
                </c:pt>
                <c:pt idx="197">
                  <c:v>355.33333333333331</c:v>
                </c:pt>
                <c:pt idx="198">
                  <c:v>356</c:v>
                </c:pt>
                <c:pt idx="199">
                  <c:v>356.66666666666669</c:v>
                </c:pt>
                <c:pt idx="200">
                  <c:v>357</c:v>
                </c:pt>
                <c:pt idx="201">
                  <c:v>357</c:v>
                </c:pt>
                <c:pt idx="202">
                  <c:v>357.66666666666669</c:v>
                </c:pt>
                <c:pt idx="203">
                  <c:v>357.66666666666669</c:v>
                </c:pt>
                <c:pt idx="204">
                  <c:v>357.66666666666669</c:v>
                </c:pt>
                <c:pt idx="205">
                  <c:v>357.66666666666669</c:v>
                </c:pt>
                <c:pt idx="206">
                  <c:v>357.66666666666669</c:v>
                </c:pt>
                <c:pt idx="207">
                  <c:v>358</c:v>
                </c:pt>
                <c:pt idx="208">
                  <c:v>358.33333333333331</c:v>
                </c:pt>
                <c:pt idx="209">
                  <c:v>358.66666666666669</c:v>
                </c:pt>
                <c:pt idx="210">
                  <c:v>358</c:v>
                </c:pt>
                <c:pt idx="211">
                  <c:v>357.66666666666669</c:v>
                </c:pt>
                <c:pt idx="212">
                  <c:v>357.66666666666669</c:v>
                </c:pt>
                <c:pt idx="213">
                  <c:v>358.66666666666669</c:v>
                </c:pt>
                <c:pt idx="214">
                  <c:v>359</c:v>
                </c:pt>
                <c:pt idx="215">
                  <c:v>358</c:v>
                </c:pt>
                <c:pt idx="216">
                  <c:v>358.33333333333331</c:v>
                </c:pt>
                <c:pt idx="217">
                  <c:v>358</c:v>
                </c:pt>
                <c:pt idx="218">
                  <c:v>358</c:v>
                </c:pt>
                <c:pt idx="219">
                  <c:v>356</c:v>
                </c:pt>
                <c:pt idx="220">
                  <c:v>356.33333333333331</c:v>
                </c:pt>
                <c:pt idx="221">
                  <c:v>356.33333333333331</c:v>
                </c:pt>
                <c:pt idx="222">
                  <c:v>356.33333333333331</c:v>
                </c:pt>
                <c:pt idx="223">
                  <c:v>357.33333333333331</c:v>
                </c:pt>
                <c:pt idx="224">
                  <c:v>357.66666666666669</c:v>
                </c:pt>
                <c:pt idx="225">
                  <c:v>358.33333333333331</c:v>
                </c:pt>
                <c:pt idx="226">
                  <c:v>359.33333333333331</c:v>
                </c:pt>
                <c:pt idx="227">
                  <c:v>359.66666666666669</c:v>
                </c:pt>
                <c:pt idx="228">
                  <c:v>360.33333333333331</c:v>
                </c:pt>
                <c:pt idx="229">
                  <c:v>361</c:v>
                </c:pt>
                <c:pt idx="230">
                  <c:v>361</c:v>
                </c:pt>
                <c:pt idx="231">
                  <c:v>361.33333333333331</c:v>
                </c:pt>
                <c:pt idx="232">
                  <c:v>361.33333333333331</c:v>
                </c:pt>
                <c:pt idx="233">
                  <c:v>361.66666666666669</c:v>
                </c:pt>
                <c:pt idx="234">
                  <c:v>362</c:v>
                </c:pt>
                <c:pt idx="235">
                  <c:v>363.33333333333331</c:v>
                </c:pt>
                <c:pt idx="236">
                  <c:v>362.66666666666669</c:v>
                </c:pt>
                <c:pt idx="237">
                  <c:v>364</c:v>
                </c:pt>
                <c:pt idx="238">
                  <c:v>365</c:v>
                </c:pt>
                <c:pt idx="239">
                  <c:v>366.33333333333331</c:v>
                </c:pt>
                <c:pt idx="240">
                  <c:v>368</c:v>
                </c:pt>
                <c:pt idx="241">
                  <c:v>369</c:v>
                </c:pt>
                <c:pt idx="242">
                  <c:v>371</c:v>
                </c:pt>
                <c:pt idx="243">
                  <c:v>372.66666666666669</c:v>
                </c:pt>
                <c:pt idx="244">
                  <c:v>373.33333333333331</c:v>
                </c:pt>
                <c:pt idx="245">
                  <c:v>374.66666666666669</c:v>
                </c:pt>
                <c:pt idx="246">
                  <c:v>375.33333333333331</c:v>
                </c:pt>
                <c:pt idx="247">
                  <c:v>375</c:v>
                </c:pt>
                <c:pt idx="248">
                  <c:v>375.33333333333331</c:v>
                </c:pt>
                <c:pt idx="249">
                  <c:v>375.33333333333331</c:v>
                </c:pt>
                <c:pt idx="250">
                  <c:v>375</c:v>
                </c:pt>
                <c:pt idx="251">
                  <c:v>375.33333333333331</c:v>
                </c:pt>
                <c:pt idx="252">
                  <c:v>375.66666666666669</c:v>
                </c:pt>
                <c:pt idx="253">
                  <c:v>375.66666666666669</c:v>
                </c:pt>
                <c:pt idx="254">
                  <c:v>376</c:v>
                </c:pt>
                <c:pt idx="255">
                  <c:v>375.66666666666669</c:v>
                </c:pt>
                <c:pt idx="256">
                  <c:v>376.33333333333331</c:v>
                </c:pt>
                <c:pt idx="257">
                  <c:v>376.33333333333331</c:v>
                </c:pt>
                <c:pt idx="258">
                  <c:v>376.33333333333331</c:v>
                </c:pt>
                <c:pt idx="259">
                  <c:v>376.33333333333331</c:v>
                </c:pt>
                <c:pt idx="260">
                  <c:v>376.66666666666669</c:v>
                </c:pt>
                <c:pt idx="261">
                  <c:v>378.33333333333331</c:v>
                </c:pt>
                <c:pt idx="262">
                  <c:v>379.33333333333331</c:v>
                </c:pt>
                <c:pt idx="263">
                  <c:v>380.33333333333331</c:v>
                </c:pt>
                <c:pt idx="264">
                  <c:v>379.66666666666669</c:v>
                </c:pt>
                <c:pt idx="265">
                  <c:v>381</c:v>
                </c:pt>
                <c:pt idx="266">
                  <c:v>383</c:v>
                </c:pt>
                <c:pt idx="267">
                  <c:v>384.66666666666669</c:v>
                </c:pt>
                <c:pt idx="268">
                  <c:v>386</c:v>
                </c:pt>
                <c:pt idx="269">
                  <c:v>386.33333333333331</c:v>
                </c:pt>
                <c:pt idx="270">
                  <c:v>387.33333333333331</c:v>
                </c:pt>
                <c:pt idx="271">
                  <c:v>388.33333333333331</c:v>
                </c:pt>
                <c:pt idx="272">
                  <c:v>388.33333333333331</c:v>
                </c:pt>
                <c:pt idx="273">
                  <c:v>388.33333333333331</c:v>
                </c:pt>
                <c:pt idx="274">
                  <c:v>389.33333333333331</c:v>
                </c:pt>
                <c:pt idx="275">
                  <c:v>389.33333333333331</c:v>
                </c:pt>
                <c:pt idx="276">
                  <c:v>389.33333333333331</c:v>
                </c:pt>
                <c:pt idx="277">
                  <c:v>390.33333333333331</c:v>
                </c:pt>
                <c:pt idx="278">
                  <c:v>390.33333333333331</c:v>
                </c:pt>
                <c:pt idx="279">
                  <c:v>391</c:v>
                </c:pt>
                <c:pt idx="280">
                  <c:v>391</c:v>
                </c:pt>
                <c:pt idx="281">
                  <c:v>391.33333333333331</c:v>
                </c:pt>
                <c:pt idx="282">
                  <c:v>392</c:v>
                </c:pt>
                <c:pt idx="283">
                  <c:v>393</c:v>
                </c:pt>
                <c:pt idx="284">
                  <c:v>393</c:v>
                </c:pt>
                <c:pt idx="285">
                  <c:v>394</c:v>
                </c:pt>
                <c:pt idx="286">
                  <c:v>395.66666666666669</c:v>
                </c:pt>
                <c:pt idx="287">
                  <c:v>396.66666666666669</c:v>
                </c:pt>
                <c:pt idx="288">
                  <c:v>397.66666666666669</c:v>
                </c:pt>
                <c:pt idx="289">
                  <c:v>398.66666666666669</c:v>
                </c:pt>
                <c:pt idx="290">
                  <c:v>399.66666666666669</c:v>
                </c:pt>
                <c:pt idx="291">
                  <c:v>400.66666666666669</c:v>
                </c:pt>
                <c:pt idx="292">
                  <c:v>401.33333333333331</c:v>
                </c:pt>
                <c:pt idx="293">
                  <c:v>402</c:v>
                </c:pt>
                <c:pt idx="294">
                  <c:v>402.66666666666669</c:v>
                </c:pt>
                <c:pt idx="295">
                  <c:v>403</c:v>
                </c:pt>
                <c:pt idx="296">
                  <c:v>403.33333333333331</c:v>
                </c:pt>
                <c:pt idx="297">
                  <c:v>403.66666666666669</c:v>
                </c:pt>
                <c:pt idx="298">
                  <c:v>403.33333333333331</c:v>
                </c:pt>
                <c:pt idx="299">
                  <c:v>403.33333333333331</c:v>
                </c:pt>
                <c:pt idx="300">
                  <c:v>404.33333333333331</c:v>
                </c:pt>
                <c:pt idx="301">
                  <c:v>404.33333333333331</c:v>
                </c:pt>
                <c:pt idx="302">
                  <c:v>404.66666666666669</c:v>
                </c:pt>
                <c:pt idx="303">
                  <c:v>405</c:v>
                </c:pt>
                <c:pt idx="304">
                  <c:v>405</c:v>
                </c:pt>
                <c:pt idx="305">
                  <c:v>405.33333333333331</c:v>
                </c:pt>
                <c:pt idx="306">
                  <c:v>405.33333333333331</c:v>
                </c:pt>
                <c:pt idx="307">
                  <c:v>405.66666666666669</c:v>
                </c:pt>
                <c:pt idx="308">
                  <c:v>406.33333333333331</c:v>
                </c:pt>
                <c:pt idx="309">
                  <c:v>407.66666666666669</c:v>
                </c:pt>
                <c:pt idx="310">
                  <c:v>408.33333333333331</c:v>
                </c:pt>
                <c:pt idx="311">
                  <c:v>409.33333333333331</c:v>
                </c:pt>
                <c:pt idx="312">
                  <c:v>411.33333333333331</c:v>
                </c:pt>
                <c:pt idx="313">
                  <c:v>412.33333333333331</c:v>
                </c:pt>
                <c:pt idx="314">
                  <c:v>413.66666666666669</c:v>
                </c:pt>
                <c:pt idx="315">
                  <c:v>415.33333333333331</c:v>
                </c:pt>
                <c:pt idx="316">
                  <c:v>415.66666666666669</c:v>
                </c:pt>
                <c:pt idx="317">
                  <c:v>416.66666666666669</c:v>
                </c:pt>
                <c:pt idx="318">
                  <c:v>417</c:v>
                </c:pt>
                <c:pt idx="319">
                  <c:v>417</c:v>
                </c:pt>
                <c:pt idx="320">
                  <c:v>417</c:v>
                </c:pt>
                <c:pt idx="321">
                  <c:v>416.66666666666669</c:v>
                </c:pt>
                <c:pt idx="322">
                  <c:v>417</c:v>
                </c:pt>
                <c:pt idx="323">
                  <c:v>417</c:v>
                </c:pt>
                <c:pt idx="324">
                  <c:v>416.66666666666669</c:v>
                </c:pt>
                <c:pt idx="325">
                  <c:v>417</c:v>
                </c:pt>
                <c:pt idx="326">
                  <c:v>416.66666666666669</c:v>
                </c:pt>
                <c:pt idx="327">
                  <c:v>417</c:v>
                </c:pt>
                <c:pt idx="328">
                  <c:v>417</c:v>
                </c:pt>
                <c:pt idx="329">
                  <c:v>416.66666666666669</c:v>
                </c:pt>
                <c:pt idx="330">
                  <c:v>417.33333333333331</c:v>
                </c:pt>
                <c:pt idx="331">
                  <c:v>418</c:v>
                </c:pt>
                <c:pt idx="332">
                  <c:v>417.6666666666666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C0A6-504E-BCB1-B8A89D1E7A8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72805792"/>
        <c:axId val="472703232"/>
      </c:scatterChart>
      <c:valAx>
        <c:axId val="472805792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00" dirty="0">
                    <a:solidFill>
                      <a:schemeClr val="tx1"/>
                    </a:solidFill>
                  </a:rPr>
                  <a:t>Time [days]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4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72703232"/>
        <c:crosses val="autoZero"/>
        <c:crossBetween val="midCat"/>
        <c:majorUnit val="1"/>
        <c:minorUnit val="1"/>
      </c:valAx>
      <c:valAx>
        <c:axId val="47270323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00" dirty="0">
                    <a:solidFill>
                      <a:schemeClr val="tx1"/>
                    </a:solidFill>
                  </a:rPr>
                  <a:t>Pressure [hPa]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4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72805792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000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 sz="2000" dirty="0">
                <a:solidFill>
                  <a:schemeClr val="tx1"/>
                </a:solidFill>
              </a:rPr>
              <a:t>Comparison Unscreened Vs. Screened Cow Manure 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000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9.3318216304551158E-2"/>
          <c:y val="0.11620259746829419"/>
          <c:w val="0.6849441741022767"/>
          <c:h val="0.76325645424301758"/>
        </c:manualLayout>
      </c:layout>
      <c:scatterChart>
        <c:scatterStyle val="lineMarker"/>
        <c:varyColors val="0"/>
        <c:ser>
          <c:idx val="0"/>
          <c:order val="0"/>
          <c:tx>
            <c:v>Average Unscreened</c:v>
          </c:tx>
          <c:spPr>
            <a:ln w="25400" cap="rnd">
              <a:solidFill>
                <a:srgbClr val="4174BE"/>
              </a:solidFill>
              <a:round/>
            </a:ln>
            <a:effectLst/>
          </c:spPr>
          <c:marker>
            <c:symbol val="circle"/>
            <c:size val="5"/>
            <c:spPr>
              <a:noFill/>
              <a:ln w="9525">
                <a:noFill/>
              </a:ln>
              <a:effectLst/>
            </c:spPr>
          </c:marker>
          <c:xVal>
            <c:numRef>
              <c:f>'Comparison Average scre v unscr'!$I$27:$I$360</c:f>
              <c:numCache>
                <c:formatCode>General</c:formatCode>
                <c:ptCount val="334"/>
                <c:pt idx="0">
                  <c:v>0</c:v>
                </c:pt>
                <c:pt idx="1">
                  <c:v>4.1666666666666664E-2</c:v>
                </c:pt>
                <c:pt idx="2">
                  <c:v>8.3333333333333329E-2</c:v>
                </c:pt>
                <c:pt idx="3">
                  <c:v>0.125</c:v>
                </c:pt>
                <c:pt idx="4">
                  <c:v>0.16666666666666666</c:v>
                </c:pt>
                <c:pt idx="5">
                  <c:v>0.20833333333333334</c:v>
                </c:pt>
                <c:pt idx="6">
                  <c:v>0.25</c:v>
                </c:pt>
                <c:pt idx="7">
                  <c:v>0.29166666666666669</c:v>
                </c:pt>
                <c:pt idx="8">
                  <c:v>0.33333333333333331</c:v>
                </c:pt>
                <c:pt idx="9">
                  <c:v>0.375</c:v>
                </c:pt>
                <c:pt idx="10">
                  <c:v>0.41666666666666669</c:v>
                </c:pt>
                <c:pt idx="11">
                  <c:v>0.45833333333333331</c:v>
                </c:pt>
                <c:pt idx="12">
                  <c:v>0.5</c:v>
                </c:pt>
                <c:pt idx="13">
                  <c:v>0.54166666666666663</c:v>
                </c:pt>
                <c:pt idx="14">
                  <c:v>0.58333333333333337</c:v>
                </c:pt>
                <c:pt idx="15">
                  <c:v>0.625</c:v>
                </c:pt>
                <c:pt idx="16">
                  <c:v>0.66666666666666663</c:v>
                </c:pt>
                <c:pt idx="17">
                  <c:v>0.70833333333333337</c:v>
                </c:pt>
                <c:pt idx="18">
                  <c:v>0.75</c:v>
                </c:pt>
                <c:pt idx="19">
                  <c:v>0.79166666666666663</c:v>
                </c:pt>
                <c:pt idx="20">
                  <c:v>0.83333333333333337</c:v>
                </c:pt>
                <c:pt idx="21">
                  <c:v>0.875</c:v>
                </c:pt>
                <c:pt idx="22">
                  <c:v>0.91666666666666663</c:v>
                </c:pt>
                <c:pt idx="23">
                  <c:v>0.95833333333333337</c:v>
                </c:pt>
                <c:pt idx="24">
                  <c:v>1</c:v>
                </c:pt>
                <c:pt idx="25">
                  <c:v>1.0416666666666667</c:v>
                </c:pt>
                <c:pt idx="26">
                  <c:v>1.0833333333333333</c:v>
                </c:pt>
                <c:pt idx="27">
                  <c:v>1.125</c:v>
                </c:pt>
                <c:pt idx="28">
                  <c:v>1.1666666666666667</c:v>
                </c:pt>
                <c:pt idx="29">
                  <c:v>1.2083333333333333</c:v>
                </c:pt>
                <c:pt idx="30">
                  <c:v>1.25</c:v>
                </c:pt>
                <c:pt idx="31">
                  <c:v>1.2916666666666667</c:v>
                </c:pt>
                <c:pt idx="32">
                  <c:v>1.3333333333333333</c:v>
                </c:pt>
                <c:pt idx="33">
                  <c:v>1.375</c:v>
                </c:pt>
                <c:pt idx="34">
                  <c:v>1.4166666666666667</c:v>
                </c:pt>
                <c:pt idx="35">
                  <c:v>1.4583333333333333</c:v>
                </c:pt>
                <c:pt idx="36">
                  <c:v>1.5</c:v>
                </c:pt>
                <c:pt idx="37">
                  <c:v>1.5416666666666667</c:v>
                </c:pt>
                <c:pt idx="38">
                  <c:v>1.5833333333333333</c:v>
                </c:pt>
                <c:pt idx="39">
                  <c:v>1.625</c:v>
                </c:pt>
                <c:pt idx="40">
                  <c:v>1.6666666666666667</c:v>
                </c:pt>
                <c:pt idx="41">
                  <c:v>1.7083333333333333</c:v>
                </c:pt>
                <c:pt idx="42">
                  <c:v>1.75</c:v>
                </c:pt>
                <c:pt idx="43">
                  <c:v>1.7916666666666667</c:v>
                </c:pt>
                <c:pt idx="44">
                  <c:v>1.8333333333333333</c:v>
                </c:pt>
                <c:pt idx="45">
                  <c:v>1.875</c:v>
                </c:pt>
                <c:pt idx="46">
                  <c:v>1.9166666666666667</c:v>
                </c:pt>
                <c:pt idx="47">
                  <c:v>1.9583333333333333</c:v>
                </c:pt>
                <c:pt idx="48">
                  <c:v>2</c:v>
                </c:pt>
                <c:pt idx="49">
                  <c:v>2.0416666666666665</c:v>
                </c:pt>
                <c:pt idx="50">
                  <c:v>2.0833333333333335</c:v>
                </c:pt>
                <c:pt idx="51">
                  <c:v>2.125</c:v>
                </c:pt>
                <c:pt idx="52">
                  <c:v>2.1666666666666665</c:v>
                </c:pt>
                <c:pt idx="53">
                  <c:v>2.2083333333333335</c:v>
                </c:pt>
                <c:pt idx="54">
                  <c:v>2.25</c:v>
                </c:pt>
                <c:pt idx="55">
                  <c:v>2.2916666666666665</c:v>
                </c:pt>
                <c:pt idx="56">
                  <c:v>2.3333333333333335</c:v>
                </c:pt>
                <c:pt idx="57">
                  <c:v>2.375</c:v>
                </c:pt>
                <c:pt idx="58">
                  <c:v>2.4166666666666665</c:v>
                </c:pt>
                <c:pt idx="59">
                  <c:v>2.4583333333333335</c:v>
                </c:pt>
                <c:pt idx="60">
                  <c:v>2.5</c:v>
                </c:pt>
                <c:pt idx="61">
                  <c:v>2.5416666666666665</c:v>
                </c:pt>
                <c:pt idx="62">
                  <c:v>2.5833333333333335</c:v>
                </c:pt>
                <c:pt idx="63">
                  <c:v>2.625</c:v>
                </c:pt>
                <c:pt idx="64">
                  <c:v>2.6666666666666665</c:v>
                </c:pt>
                <c:pt idx="65">
                  <c:v>2.7083333333333335</c:v>
                </c:pt>
                <c:pt idx="66">
                  <c:v>2.75</c:v>
                </c:pt>
                <c:pt idx="67">
                  <c:v>2.7916666666666665</c:v>
                </c:pt>
                <c:pt idx="68">
                  <c:v>2.8333333333333335</c:v>
                </c:pt>
                <c:pt idx="69">
                  <c:v>2.875</c:v>
                </c:pt>
                <c:pt idx="70">
                  <c:v>2.9166666666666665</c:v>
                </c:pt>
                <c:pt idx="71">
                  <c:v>2.9583333333333335</c:v>
                </c:pt>
                <c:pt idx="72">
                  <c:v>3</c:v>
                </c:pt>
                <c:pt idx="73">
                  <c:v>3.0416666666666665</c:v>
                </c:pt>
                <c:pt idx="74">
                  <c:v>3.0833333333333335</c:v>
                </c:pt>
                <c:pt idx="75">
                  <c:v>3.125</c:v>
                </c:pt>
                <c:pt idx="76">
                  <c:v>3.1666666666666665</c:v>
                </c:pt>
                <c:pt idx="77">
                  <c:v>3.2083333333333335</c:v>
                </c:pt>
                <c:pt idx="78">
                  <c:v>3.25</c:v>
                </c:pt>
                <c:pt idx="79">
                  <c:v>3.2916666666666665</c:v>
                </c:pt>
                <c:pt idx="80">
                  <c:v>3.3333333333333335</c:v>
                </c:pt>
                <c:pt idx="81">
                  <c:v>3.375</c:v>
                </c:pt>
                <c:pt idx="82">
                  <c:v>3.4166666666666665</c:v>
                </c:pt>
                <c:pt idx="83">
                  <c:v>3.4583333333333335</c:v>
                </c:pt>
                <c:pt idx="84">
                  <c:v>3.5</c:v>
                </c:pt>
                <c:pt idx="85">
                  <c:v>3.5416666666666665</c:v>
                </c:pt>
                <c:pt idx="86">
                  <c:v>3.5833333333333335</c:v>
                </c:pt>
                <c:pt idx="87">
                  <c:v>3.625</c:v>
                </c:pt>
                <c:pt idx="88">
                  <c:v>3.6666666666666665</c:v>
                </c:pt>
                <c:pt idx="89">
                  <c:v>3.7083333333333335</c:v>
                </c:pt>
                <c:pt idx="90">
                  <c:v>3.75</c:v>
                </c:pt>
                <c:pt idx="91">
                  <c:v>3.7916666666666665</c:v>
                </c:pt>
                <c:pt idx="92">
                  <c:v>3.8333333333333335</c:v>
                </c:pt>
                <c:pt idx="93">
                  <c:v>3.875</c:v>
                </c:pt>
                <c:pt idx="94">
                  <c:v>3.9166666666666665</c:v>
                </c:pt>
                <c:pt idx="95">
                  <c:v>3.9583333333333335</c:v>
                </c:pt>
                <c:pt idx="96">
                  <c:v>4</c:v>
                </c:pt>
                <c:pt idx="97">
                  <c:v>4.041666666666667</c:v>
                </c:pt>
                <c:pt idx="98">
                  <c:v>4.083333333333333</c:v>
                </c:pt>
                <c:pt idx="99">
                  <c:v>4.125</c:v>
                </c:pt>
                <c:pt idx="100">
                  <c:v>4.166666666666667</c:v>
                </c:pt>
                <c:pt idx="101">
                  <c:v>4.208333333333333</c:v>
                </c:pt>
                <c:pt idx="102">
                  <c:v>4.25</c:v>
                </c:pt>
                <c:pt idx="103">
                  <c:v>4.291666666666667</c:v>
                </c:pt>
                <c:pt idx="104">
                  <c:v>4.333333333333333</c:v>
                </c:pt>
                <c:pt idx="105">
                  <c:v>4.375</c:v>
                </c:pt>
                <c:pt idx="106">
                  <c:v>4.416666666666667</c:v>
                </c:pt>
                <c:pt idx="107">
                  <c:v>4.458333333333333</c:v>
                </c:pt>
                <c:pt idx="108">
                  <c:v>4.5</c:v>
                </c:pt>
                <c:pt idx="109">
                  <c:v>4.541666666666667</c:v>
                </c:pt>
                <c:pt idx="110">
                  <c:v>4.583333333333333</c:v>
                </c:pt>
                <c:pt idx="111">
                  <c:v>4.625</c:v>
                </c:pt>
                <c:pt idx="112">
                  <c:v>4.666666666666667</c:v>
                </c:pt>
                <c:pt idx="113">
                  <c:v>4.708333333333333</c:v>
                </c:pt>
                <c:pt idx="114">
                  <c:v>4.75</c:v>
                </c:pt>
                <c:pt idx="115">
                  <c:v>4.791666666666667</c:v>
                </c:pt>
                <c:pt idx="116">
                  <c:v>4.833333333333333</c:v>
                </c:pt>
                <c:pt idx="117">
                  <c:v>4.875</c:v>
                </c:pt>
                <c:pt idx="118">
                  <c:v>4.916666666666667</c:v>
                </c:pt>
                <c:pt idx="119">
                  <c:v>4.958333333333333</c:v>
                </c:pt>
                <c:pt idx="120">
                  <c:v>5</c:v>
                </c:pt>
                <c:pt idx="121">
                  <c:v>5.041666666666667</c:v>
                </c:pt>
                <c:pt idx="122">
                  <c:v>5.083333333333333</c:v>
                </c:pt>
                <c:pt idx="123">
                  <c:v>5.125</c:v>
                </c:pt>
                <c:pt idx="124">
                  <c:v>5.166666666666667</c:v>
                </c:pt>
                <c:pt idx="125">
                  <c:v>5.208333333333333</c:v>
                </c:pt>
                <c:pt idx="126">
                  <c:v>5.25</c:v>
                </c:pt>
                <c:pt idx="127">
                  <c:v>5.291666666666667</c:v>
                </c:pt>
                <c:pt idx="128">
                  <c:v>5.333333333333333</c:v>
                </c:pt>
                <c:pt idx="129">
                  <c:v>5.375</c:v>
                </c:pt>
                <c:pt idx="130">
                  <c:v>5.416666666666667</c:v>
                </c:pt>
                <c:pt idx="131">
                  <c:v>5.458333333333333</c:v>
                </c:pt>
                <c:pt idx="132">
                  <c:v>5.5</c:v>
                </c:pt>
                <c:pt idx="133">
                  <c:v>5.541666666666667</c:v>
                </c:pt>
                <c:pt idx="134">
                  <c:v>5.583333333333333</c:v>
                </c:pt>
                <c:pt idx="135">
                  <c:v>5.625</c:v>
                </c:pt>
                <c:pt idx="136">
                  <c:v>5.666666666666667</c:v>
                </c:pt>
                <c:pt idx="137">
                  <c:v>5.708333333333333</c:v>
                </c:pt>
                <c:pt idx="138">
                  <c:v>5.75</c:v>
                </c:pt>
                <c:pt idx="139">
                  <c:v>5.791666666666667</c:v>
                </c:pt>
                <c:pt idx="140">
                  <c:v>5.833333333333333</c:v>
                </c:pt>
                <c:pt idx="141">
                  <c:v>5.875</c:v>
                </c:pt>
                <c:pt idx="142">
                  <c:v>5.916666666666667</c:v>
                </c:pt>
                <c:pt idx="143">
                  <c:v>5.958333333333333</c:v>
                </c:pt>
                <c:pt idx="144">
                  <c:v>6</c:v>
                </c:pt>
                <c:pt idx="145">
                  <c:v>6.041666666666667</c:v>
                </c:pt>
                <c:pt idx="146">
                  <c:v>6.083333333333333</c:v>
                </c:pt>
                <c:pt idx="147">
                  <c:v>6.125</c:v>
                </c:pt>
                <c:pt idx="148">
                  <c:v>6.166666666666667</c:v>
                </c:pt>
                <c:pt idx="149">
                  <c:v>6.208333333333333</c:v>
                </c:pt>
                <c:pt idx="150">
                  <c:v>6.25</c:v>
                </c:pt>
                <c:pt idx="151">
                  <c:v>6.291666666666667</c:v>
                </c:pt>
                <c:pt idx="152">
                  <c:v>6.333333333333333</c:v>
                </c:pt>
                <c:pt idx="153">
                  <c:v>6.375</c:v>
                </c:pt>
                <c:pt idx="154">
                  <c:v>6.416666666666667</c:v>
                </c:pt>
                <c:pt idx="155">
                  <c:v>6.458333333333333</c:v>
                </c:pt>
                <c:pt idx="156">
                  <c:v>6.5</c:v>
                </c:pt>
                <c:pt idx="157">
                  <c:v>6.541666666666667</c:v>
                </c:pt>
                <c:pt idx="158">
                  <c:v>6.583333333333333</c:v>
                </c:pt>
                <c:pt idx="159">
                  <c:v>6.625</c:v>
                </c:pt>
                <c:pt idx="160">
                  <c:v>6.666666666666667</c:v>
                </c:pt>
                <c:pt idx="161">
                  <c:v>6.708333333333333</c:v>
                </c:pt>
                <c:pt idx="162">
                  <c:v>6.75</c:v>
                </c:pt>
                <c:pt idx="163">
                  <c:v>6.791666666666667</c:v>
                </c:pt>
                <c:pt idx="164">
                  <c:v>6.833333333333333</c:v>
                </c:pt>
                <c:pt idx="165">
                  <c:v>6.875</c:v>
                </c:pt>
                <c:pt idx="166">
                  <c:v>6.916666666666667</c:v>
                </c:pt>
                <c:pt idx="167">
                  <c:v>6.958333333333333</c:v>
                </c:pt>
                <c:pt idx="168">
                  <c:v>7</c:v>
                </c:pt>
                <c:pt idx="169">
                  <c:v>7.041666666666667</c:v>
                </c:pt>
                <c:pt idx="170">
                  <c:v>7.083333333333333</c:v>
                </c:pt>
                <c:pt idx="171">
                  <c:v>7.125</c:v>
                </c:pt>
                <c:pt idx="172">
                  <c:v>7.166666666666667</c:v>
                </c:pt>
                <c:pt idx="173">
                  <c:v>7.208333333333333</c:v>
                </c:pt>
                <c:pt idx="174">
                  <c:v>7.25</c:v>
                </c:pt>
                <c:pt idx="175">
                  <c:v>7.291666666666667</c:v>
                </c:pt>
                <c:pt idx="176">
                  <c:v>7.333333333333333</c:v>
                </c:pt>
                <c:pt idx="177">
                  <c:v>7.375</c:v>
                </c:pt>
                <c:pt idx="178">
                  <c:v>7.416666666666667</c:v>
                </c:pt>
                <c:pt idx="179">
                  <c:v>7.458333333333333</c:v>
                </c:pt>
                <c:pt idx="180">
                  <c:v>7.5</c:v>
                </c:pt>
                <c:pt idx="181">
                  <c:v>7.541666666666667</c:v>
                </c:pt>
                <c:pt idx="182">
                  <c:v>7.583333333333333</c:v>
                </c:pt>
                <c:pt idx="183">
                  <c:v>7.625</c:v>
                </c:pt>
                <c:pt idx="184">
                  <c:v>7.666666666666667</c:v>
                </c:pt>
                <c:pt idx="185">
                  <c:v>7.708333333333333</c:v>
                </c:pt>
                <c:pt idx="186">
                  <c:v>7.75</c:v>
                </c:pt>
                <c:pt idx="187">
                  <c:v>7.791666666666667</c:v>
                </c:pt>
                <c:pt idx="188">
                  <c:v>7.833333333333333</c:v>
                </c:pt>
                <c:pt idx="189">
                  <c:v>7.875</c:v>
                </c:pt>
                <c:pt idx="190">
                  <c:v>7.916666666666667</c:v>
                </c:pt>
                <c:pt idx="191">
                  <c:v>7.958333333333333</c:v>
                </c:pt>
                <c:pt idx="192">
                  <c:v>8</c:v>
                </c:pt>
                <c:pt idx="193">
                  <c:v>8.0416666666666661</c:v>
                </c:pt>
                <c:pt idx="194">
                  <c:v>8.0833333333333339</c:v>
                </c:pt>
                <c:pt idx="195">
                  <c:v>8.125</c:v>
                </c:pt>
                <c:pt idx="196">
                  <c:v>8.1666666666666661</c:v>
                </c:pt>
                <c:pt idx="197">
                  <c:v>8.2083333333333339</c:v>
                </c:pt>
                <c:pt idx="198">
                  <c:v>8.25</c:v>
                </c:pt>
                <c:pt idx="199">
                  <c:v>8.2916666666666661</c:v>
                </c:pt>
                <c:pt idx="200">
                  <c:v>8.3333333333333339</c:v>
                </c:pt>
                <c:pt idx="201">
                  <c:v>8.375</c:v>
                </c:pt>
                <c:pt idx="202">
                  <c:v>8.4166666666666661</c:v>
                </c:pt>
                <c:pt idx="203">
                  <c:v>8.4583333333333339</c:v>
                </c:pt>
                <c:pt idx="204">
                  <c:v>8.5</c:v>
                </c:pt>
                <c:pt idx="205">
                  <c:v>8.5416666666666661</c:v>
                </c:pt>
                <c:pt idx="206">
                  <c:v>8.5833333333333339</c:v>
                </c:pt>
                <c:pt idx="207">
                  <c:v>8.625</c:v>
                </c:pt>
                <c:pt idx="208">
                  <c:v>8.6666666666666661</c:v>
                </c:pt>
                <c:pt idx="209">
                  <c:v>8.7083333333333339</c:v>
                </c:pt>
                <c:pt idx="210">
                  <c:v>8.75</c:v>
                </c:pt>
                <c:pt idx="211">
                  <c:v>8.7916666666666661</c:v>
                </c:pt>
                <c:pt idx="212">
                  <c:v>8.8333333333333339</c:v>
                </c:pt>
                <c:pt idx="213">
                  <c:v>8.875</c:v>
                </c:pt>
                <c:pt idx="214">
                  <c:v>8.9166666666666661</c:v>
                </c:pt>
                <c:pt idx="215">
                  <c:v>8.9583333333333339</c:v>
                </c:pt>
                <c:pt idx="216">
                  <c:v>9</c:v>
                </c:pt>
                <c:pt idx="217">
                  <c:v>9.0416666666666661</c:v>
                </c:pt>
                <c:pt idx="218">
                  <c:v>9.0833333333333339</c:v>
                </c:pt>
                <c:pt idx="219">
                  <c:v>9.125</c:v>
                </c:pt>
                <c:pt idx="220">
                  <c:v>9.1666666666666661</c:v>
                </c:pt>
                <c:pt idx="221">
                  <c:v>9.2083333333333339</c:v>
                </c:pt>
                <c:pt idx="222">
                  <c:v>9.25</c:v>
                </c:pt>
                <c:pt idx="223">
                  <c:v>9.2916666666666661</c:v>
                </c:pt>
                <c:pt idx="224">
                  <c:v>9.3333333333333339</c:v>
                </c:pt>
                <c:pt idx="225">
                  <c:v>9.375</c:v>
                </c:pt>
                <c:pt idx="226">
                  <c:v>9.4166666666666661</c:v>
                </c:pt>
                <c:pt idx="227">
                  <c:v>9.4583333333333339</c:v>
                </c:pt>
                <c:pt idx="228">
                  <c:v>9.5</c:v>
                </c:pt>
                <c:pt idx="229">
                  <c:v>9.5416666666666661</c:v>
                </c:pt>
                <c:pt idx="230">
                  <c:v>9.5833333333333339</c:v>
                </c:pt>
                <c:pt idx="231">
                  <c:v>9.625</c:v>
                </c:pt>
                <c:pt idx="232">
                  <c:v>9.6666666666666661</c:v>
                </c:pt>
                <c:pt idx="233">
                  <c:v>9.7083333333333339</c:v>
                </c:pt>
                <c:pt idx="234">
                  <c:v>9.75</c:v>
                </c:pt>
                <c:pt idx="235">
                  <c:v>9.7916666666666661</c:v>
                </c:pt>
                <c:pt idx="236">
                  <c:v>9.8333333333333339</c:v>
                </c:pt>
                <c:pt idx="237">
                  <c:v>9.875</c:v>
                </c:pt>
                <c:pt idx="238">
                  <c:v>9.9166666666666661</c:v>
                </c:pt>
                <c:pt idx="239">
                  <c:v>9.9583333333333339</c:v>
                </c:pt>
                <c:pt idx="240">
                  <c:v>10</c:v>
                </c:pt>
                <c:pt idx="241">
                  <c:v>10.041666666666666</c:v>
                </c:pt>
                <c:pt idx="242">
                  <c:v>10.083333333333334</c:v>
                </c:pt>
                <c:pt idx="243">
                  <c:v>10.125</c:v>
                </c:pt>
                <c:pt idx="244">
                  <c:v>10.166666666666666</c:v>
                </c:pt>
                <c:pt idx="245">
                  <c:v>10.208333333333334</c:v>
                </c:pt>
                <c:pt idx="246">
                  <c:v>10.25</c:v>
                </c:pt>
                <c:pt idx="247">
                  <c:v>10.291666666666666</c:v>
                </c:pt>
                <c:pt idx="248">
                  <c:v>10.333333333333334</c:v>
                </c:pt>
                <c:pt idx="249">
                  <c:v>10.375</c:v>
                </c:pt>
                <c:pt idx="250">
                  <c:v>10.416666666666666</c:v>
                </c:pt>
                <c:pt idx="251">
                  <c:v>10.458333333333334</c:v>
                </c:pt>
                <c:pt idx="252">
                  <c:v>10.5</c:v>
                </c:pt>
                <c:pt idx="253">
                  <c:v>10.541666666666666</c:v>
                </c:pt>
                <c:pt idx="254">
                  <c:v>10.583333333333334</c:v>
                </c:pt>
                <c:pt idx="255">
                  <c:v>10.625</c:v>
                </c:pt>
                <c:pt idx="256">
                  <c:v>10.666666666666666</c:v>
                </c:pt>
                <c:pt idx="257">
                  <c:v>10.708333333333334</c:v>
                </c:pt>
                <c:pt idx="258">
                  <c:v>10.75</c:v>
                </c:pt>
                <c:pt idx="259">
                  <c:v>10.791666666666666</c:v>
                </c:pt>
                <c:pt idx="260">
                  <c:v>10.833333333333334</c:v>
                </c:pt>
                <c:pt idx="261">
                  <c:v>10.875</c:v>
                </c:pt>
                <c:pt idx="262">
                  <c:v>10.916666666666666</c:v>
                </c:pt>
                <c:pt idx="263">
                  <c:v>10.958333333333334</c:v>
                </c:pt>
                <c:pt idx="264">
                  <c:v>11</c:v>
                </c:pt>
                <c:pt idx="265">
                  <c:v>11.041666666666666</c:v>
                </c:pt>
                <c:pt idx="266">
                  <c:v>11.083333333333334</c:v>
                </c:pt>
                <c:pt idx="267">
                  <c:v>11.125</c:v>
                </c:pt>
                <c:pt idx="268">
                  <c:v>11.166666666666666</c:v>
                </c:pt>
                <c:pt idx="269">
                  <c:v>11.208333333333334</c:v>
                </c:pt>
                <c:pt idx="270">
                  <c:v>11.25</c:v>
                </c:pt>
                <c:pt idx="271">
                  <c:v>11.291666666666666</c:v>
                </c:pt>
                <c:pt idx="272">
                  <c:v>11.333333333333334</c:v>
                </c:pt>
                <c:pt idx="273">
                  <c:v>11.375</c:v>
                </c:pt>
                <c:pt idx="274">
                  <c:v>11.416666666666666</c:v>
                </c:pt>
                <c:pt idx="275">
                  <c:v>11.458333333333334</c:v>
                </c:pt>
                <c:pt idx="276">
                  <c:v>11.5</c:v>
                </c:pt>
                <c:pt idx="277">
                  <c:v>11.541666666666666</c:v>
                </c:pt>
                <c:pt idx="278">
                  <c:v>11.583333333333334</c:v>
                </c:pt>
                <c:pt idx="279">
                  <c:v>11.625</c:v>
                </c:pt>
                <c:pt idx="280">
                  <c:v>11.666666666666666</c:v>
                </c:pt>
                <c:pt idx="281">
                  <c:v>11.708333333333334</c:v>
                </c:pt>
                <c:pt idx="282">
                  <c:v>11.75</c:v>
                </c:pt>
                <c:pt idx="283">
                  <c:v>11.791666666666666</c:v>
                </c:pt>
                <c:pt idx="284">
                  <c:v>11.833333333333334</c:v>
                </c:pt>
                <c:pt idx="285">
                  <c:v>11.875</c:v>
                </c:pt>
                <c:pt idx="286">
                  <c:v>11.916666666666666</c:v>
                </c:pt>
                <c:pt idx="287">
                  <c:v>11.958333333333334</c:v>
                </c:pt>
                <c:pt idx="288">
                  <c:v>12</c:v>
                </c:pt>
                <c:pt idx="289">
                  <c:v>12.041666666666666</c:v>
                </c:pt>
                <c:pt idx="290">
                  <c:v>12.083333333333334</c:v>
                </c:pt>
                <c:pt idx="291">
                  <c:v>12.125</c:v>
                </c:pt>
                <c:pt idx="292">
                  <c:v>12.166666666666666</c:v>
                </c:pt>
                <c:pt idx="293">
                  <c:v>12.208333333333334</c:v>
                </c:pt>
                <c:pt idx="294">
                  <c:v>12.25</c:v>
                </c:pt>
                <c:pt idx="295">
                  <c:v>12.291666666666666</c:v>
                </c:pt>
                <c:pt idx="296">
                  <c:v>12.333333333333334</c:v>
                </c:pt>
                <c:pt idx="297">
                  <c:v>12.375</c:v>
                </c:pt>
                <c:pt idx="298">
                  <c:v>12.416666666666666</c:v>
                </c:pt>
                <c:pt idx="299">
                  <c:v>12.458333333333334</c:v>
                </c:pt>
                <c:pt idx="300">
                  <c:v>12.5</c:v>
                </c:pt>
                <c:pt idx="301">
                  <c:v>12.541666666666666</c:v>
                </c:pt>
                <c:pt idx="302">
                  <c:v>12.583333333333334</c:v>
                </c:pt>
                <c:pt idx="303">
                  <c:v>12.625</c:v>
                </c:pt>
                <c:pt idx="304">
                  <c:v>12.666666666666666</c:v>
                </c:pt>
                <c:pt idx="305">
                  <c:v>12.708333333333334</c:v>
                </c:pt>
                <c:pt idx="306">
                  <c:v>12.75</c:v>
                </c:pt>
                <c:pt idx="307">
                  <c:v>12.791666666666666</c:v>
                </c:pt>
                <c:pt idx="308">
                  <c:v>12.833333333333334</c:v>
                </c:pt>
                <c:pt idx="309">
                  <c:v>12.875</c:v>
                </c:pt>
                <c:pt idx="310">
                  <c:v>12.916666666666666</c:v>
                </c:pt>
                <c:pt idx="311">
                  <c:v>12.958333333333334</c:v>
                </c:pt>
                <c:pt idx="312">
                  <c:v>13</c:v>
                </c:pt>
                <c:pt idx="313">
                  <c:v>13.041666666666666</c:v>
                </c:pt>
                <c:pt idx="314">
                  <c:v>13.083333333333334</c:v>
                </c:pt>
                <c:pt idx="315">
                  <c:v>13.125</c:v>
                </c:pt>
                <c:pt idx="316">
                  <c:v>13.166666666666666</c:v>
                </c:pt>
                <c:pt idx="317">
                  <c:v>13.208333333333334</c:v>
                </c:pt>
                <c:pt idx="318">
                  <c:v>13.25</c:v>
                </c:pt>
                <c:pt idx="319">
                  <c:v>13.291666666666666</c:v>
                </c:pt>
                <c:pt idx="320">
                  <c:v>13.333333333333334</c:v>
                </c:pt>
                <c:pt idx="321">
                  <c:v>13.375</c:v>
                </c:pt>
                <c:pt idx="322">
                  <c:v>13.416666666666666</c:v>
                </c:pt>
                <c:pt idx="323">
                  <c:v>13.458333333333334</c:v>
                </c:pt>
                <c:pt idx="324">
                  <c:v>13.5</c:v>
                </c:pt>
                <c:pt idx="325">
                  <c:v>13.541666666666666</c:v>
                </c:pt>
                <c:pt idx="326">
                  <c:v>13.583333333333334</c:v>
                </c:pt>
                <c:pt idx="327">
                  <c:v>13.625</c:v>
                </c:pt>
                <c:pt idx="328">
                  <c:v>13.666666666666666</c:v>
                </c:pt>
                <c:pt idx="329">
                  <c:v>13.708333333333334</c:v>
                </c:pt>
                <c:pt idx="330">
                  <c:v>13.75</c:v>
                </c:pt>
                <c:pt idx="331">
                  <c:v>13.791666666666666</c:v>
                </c:pt>
                <c:pt idx="332">
                  <c:v>13.833333333333334</c:v>
                </c:pt>
                <c:pt idx="333">
                  <c:v>13.875</c:v>
                </c:pt>
              </c:numCache>
            </c:numRef>
          </c:xVal>
          <c:yVal>
            <c:numRef>
              <c:f>'Comparison Average scre v unscr'!$Q$27:$Q$360</c:f>
              <c:numCache>
                <c:formatCode>General</c:formatCode>
                <c:ptCount val="334"/>
                <c:pt idx="0">
                  <c:v>0</c:v>
                </c:pt>
                <c:pt idx="1">
                  <c:v>67.5</c:v>
                </c:pt>
                <c:pt idx="2">
                  <c:v>101.5</c:v>
                </c:pt>
                <c:pt idx="3">
                  <c:v>122</c:v>
                </c:pt>
                <c:pt idx="4">
                  <c:v>139.5</c:v>
                </c:pt>
                <c:pt idx="5">
                  <c:v>149</c:v>
                </c:pt>
                <c:pt idx="6">
                  <c:v>156.5</c:v>
                </c:pt>
                <c:pt idx="7">
                  <c:v>160</c:v>
                </c:pt>
                <c:pt idx="8">
                  <c:v>163.5</c:v>
                </c:pt>
                <c:pt idx="9">
                  <c:v>166.5</c:v>
                </c:pt>
                <c:pt idx="10">
                  <c:v>168.5</c:v>
                </c:pt>
                <c:pt idx="11">
                  <c:v>170</c:v>
                </c:pt>
                <c:pt idx="12">
                  <c:v>172</c:v>
                </c:pt>
                <c:pt idx="13">
                  <c:v>175.5</c:v>
                </c:pt>
                <c:pt idx="14">
                  <c:v>176</c:v>
                </c:pt>
                <c:pt idx="15">
                  <c:v>176.5</c:v>
                </c:pt>
                <c:pt idx="16">
                  <c:v>177.5</c:v>
                </c:pt>
                <c:pt idx="17">
                  <c:v>195.5</c:v>
                </c:pt>
                <c:pt idx="18">
                  <c:v>206</c:v>
                </c:pt>
                <c:pt idx="19">
                  <c:v>211</c:v>
                </c:pt>
                <c:pt idx="20">
                  <c:v>214.5</c:v>
                </c:pt>
                <c:pt idx="21">
                  <c:v>216</c:v>
                </c:pt>
                <c:pt idx="22">
                  <c:v>218</c:v>
                </c:pt>
                <c:pt idx="23">
                  <c:v>220.5</c:v>
                </c:pt>
                <c:pt idx="24">
                  <c:v>223.5</c:v>
                </c:pt>
                <c:pt idx="25">
                  <c:v>224.5</c:v>
                </c:pt>
                <c:pt idx="26">
                  <c:v>212</c:v>
                </c:pt>
                <c:pt idx="27">
                  <c:v>217</c:v>
                </c:pt>
                <c:pt idx="28">
                  <c:v>221.5</c:v>
                </c:pt>
                <c:pt idx="29">
                  <c:v>224.5</c:v>
                </c:pt>
                <c:pt idx="30">
                  <c:v>227</c:v>
                </c:pt>
                <c:pt idx="31">
                  <c:v>228.5</c:v>
                </c:pt>
                <c:pt idx="32">
                  <c:v>230</c:v>
                </c:pt>
                <c:pt idx="33">
                  <c:v>231</c:v>
                </c:pt>
                <c:pt idx="34">
                  <c:v>232</c:v>
                </c:pt>
                <c:pt idx="35">
                  <c:v>233</c:v>
                </c:pt>
                <c:pt idx="36">
                  <c:v>233.5</c:v>
                </c:pt>
                <c:pt idx="37">
                  <c:v>234</c:v>
                </c:pt>
                <c:pt idx="38">
                  <c:v>236.5</c:v>
                </c:pt>
                <c:pt idx="39">
                  <c:v>237</c:v>
                </c:pt>
                <c:pt idx="40">
                  <c:v>238</c:v>
                </c:pt>
                <c:pt idx="41">
                  <c:v>238</c:v>
                </c:pt>
                <c:pt idx="42">
                  <c:v>237.5</c:v>
                </c:pt>
                <c:pt idx="43">
                  <c:v>237.5</c:v>
                </c:pt>
                <c:pt idx="44">
                  <c:v>238</c:v>
                </c:pt>
                <c:pt idx="45">
                  <c:v>237</c:v>
                </c:pt>
                <c:pt idx="46">
                  <c:v>239.5</c:v>
                </c:pt>
                <c:pt idx="47">
                  <c:v>242</c:v>
                </c:pt>
                <c:pt idx="48" formatCode="0.00">
                  <c:v>238.5</c:v>
                </c:pt>
                <c:pt idx="49" formatCode="0.00">
                  <c:v>240</c:v>
                </c:pt>
                <c:pt idx="50" formatCode="0.00">
                  <c:v>240.5</c:v>
                </c:pt>
                <c:pt idx="51" formatCode="0.00">
                  <c:v>243</c:v>
                </c:pt>
                <c:pt idx="52" formatCode="0.00">
                  <c:v>245.5</c:v>
                </c:pt>
                <c:pt idx="53" formatCode="0.00">
                  <c:v>247</c:v>
                </c:pt>
                <c:pt idx="54" formatCode="0.00">
                  <c:v>248</c:v>
                </c:pt>
                <c:pt idx="55" formatCode="0.00">
                  <c:v>249.5</c:v>
                </c:pt>
                <c:pt idx="56" formatCode="0.00">
                  <c:v>250.5</c:v>
                </c:pt>
                <c:pt idx="57" formatCode="0.00">
                  <c:v>252</c:v>
                </c:pt>
                <c:pt idx="58" formatCode="0.00">
                  <c:v>252.5</c:v>
                </c:pt>
                <c:pt idx="59" formatCode="0.00">
                  <c:v>253.5</c:v>
                </c:pt>
                <c:pt idx="60" formatCode="0.00">
                  <c:v>254</c:v>
                </c:pt>
                <c:pt idx="61" formatCode="0.00">
                  <c:v>255.5</c:v>
                </c:pt>
                <c:pt idx="62" formatCode="0.00">
                  <c:v>256</c:v>
                </c:pt>
                <c:pt idx="63" formatCode="0.00">
                  <c:v>257.5</c:v>
                </c:pt>
                <c:pt idx="64" formatCode="0.00">
                  <c:v>258</c:v>
                </c:pt>
                <c:pt idx="65" formatCode="0.00">
                  <c:v>259.5</c:v>
                </c:pt>
                <c:pt idx="66" formatCode="0.00">
                  <c:v>261</c:v>
                </c:pt>
                <c:pt idx="67" formatCode="0.00">
                  <c:v>262.5</c:v>
                </c:pt>
                <c:pt idx="68" formatCode="0.00">
                  <c:v>263.5</c:v>
                </c:pt>
                <c:pt idx="69" formatCode="0.00">
                  <c:v>264.5</c:v>
                </c:pt>
                <c:pt idx="70" formatCode="0.00">
                  <c:v>265.5</c:v>
                </c:pt>
                <c:pt idx="71" formatCode="0.00">
                  <c:v>268</c:v>
                </c:pt>
                <c:pt idx="72" formatCode="0.00">
                  <c:v>270.5</c:v>
                </c:pt>
                <c:pt idx="73" formatCode="0.00">
                  <c:v>273</c:v>
                </c:pt>
                <c:pt idx="74" formatCode="0.00">
                  <c:v>276.5</c:v>
                </c:pt>
                <c:pt idx="75" formatCode="0.00">
                  <c:v>277</c:v>
                </c:pt>
                <c:pt idx="76" formatCode="0.00">
                  <c:v>278.5</c:v>
                </c:pt>
                <c:pt idx="77" formatCode="0.00">
                  <c:v>279.5</c:v>
                </c:pt>
                <c:pt idx="78" formatCode="0.00">
                  <c:v>279.5</c:v>
                </c:pt>
                <c:pt idx="79" formatCode="0.00">
                  <c:v>281</c:v>
                </c:pt>
                <c:pt idx="80" formatCode="0.00">
                  <c:v>281</c:v>
                </c:pt>
                <c:pt idx="81" formatCode="0.00">
                  <c:v>283</c:v>
                </c:pt>
                <c:pt idx="82" formatCode="0.00">
                  <c:v>284.5</c:v>
                </c:pt>
                <c:pt idx="83" formatCode="0.00">
                  <c:v>285</c:v>
                </c:pt>
                <c:pt idx="84" formatCode="0.00">
                  <c:v>285.5</c:v>
                </c:pt>
                <c:pt idx="85" formatCode="0.00">
                  <c:v>286</c:v>
                </c:pt>
                <c:pt idx="86" formatCode="0.00">
                  <c:v>288</c:v>
                </c:pt>
                <c:pt idx="87" formatCode="0.00">
                  <c:v>287.5</c:v>
                </c:pt>
                <c:pt idx="88" formatCode="0.00">
                  <c:v>288</c:v>
                </c:pt>
                <c:pt idx="89" formatCode="0.00">
                  <c:v>288.5</c:v>
                </c:pt>
                <c:pt idx="90" formatCode="0.00">
                  <c:v>285.5</c:v>
                </c:pt>
                <c:pt idx="91" formatCode="0.00">
                  <c:v>280.5</c:v>
                </c:pt>
                <c:pt idx="92" formatCode="0.00">
                  <c:v>278.5</c:v>
                </c:pt>
                <c:pt idx="93" formatCode="0.00">
                  <c:v>281.5</c:v>
                </c:pt>
                <c:pt idx="94" formatCode="0.00">
                  <c:v>282</c:v>
                </c:pt>
                <c:pt idx="95" formatCode="0.00">
                  <c:v>283.5</c:v>
                </c:pt>
                <c:pt idx="96" formatCode="0.00">
                  <c:v>286</c:v>
                </c:pt>
                <c:pt idx="97" formatCode="0.00">
                  <c:v>291</c:v>
                </c:pt>
                <c:pt idx="98" formatCode="0.00">
                  <c:v>294.5</c:v>
                </c:pt>
                <c:pt idx="99" formatCode="0.00">
                  <c:v>298</c:v>
                </c:pt>
                <c:pt idx="100" formatCode="0.00">
                  <c:v>300.5</c:v>
                </c:pt>
                <c:pt idx="101" formatCode="0.00">
                  <c:v>303</c:v>
                </c:pt>
                <c:pt idx="102" formatCode="0.00">
                  <c:v>304.5</c:v>
                </c:pt>
                <c:pt idx="103" formatCode="0.00">
                  <c:v>306</c:v>
                </c:pt>
                <c:pt idx="104" formatCode="0.00">
                  <c:v>309</c:v>
                </c:pt>
                <c:pt idx="105" formatCode="0.00">
                  <c:v>310</c:v>
                </c:pt>
                <c:pt idx="106" formatCode="0.00">
                  <c:v>311</c:v>
                </c:pt>
                <c:pt idx="107" formatCode="0.00">
                  <c:v>312</c:v>
                </c:pt>
                <c:pt idx="108" formatCode="0.00">
                  <c:v>312.5</c:v>
                </c:pt>
                <c:pt idx="109" formatCode="0.00">
                  <c:v>313.5</c:v>
                </c:pt>
                <c:pt idx="110" formatCode="0.00">
                  <c:v>314</c:v>
                </c:pt>
                <c:pt idx="111" formatCode="0.00">
                  <c:v>316</c:v>
                </c:pt>
                <c:pt idx="112" formatCode="0.00">
                  <c:v>316</c:v>
                </c:pt>
                <c:pt idx="113" formatCode="0.00">
                  <c:v>317</c:v>
                </c:pt>
                <c:pt idx="114" formatCode="0.00">
                  <c:v>319</c:v>
                </c:pt>
                <c:pt idx="115" formatCode="0.00">
                  <c:v>320</c:v>
                </c:pt>
                <c:pt idx="116" formatCode="0.00">
                  <c:v>321.5</c:v>
                </c:pt>
                <c:pt idx="117" formatCode="0.00">
                  <c:v>323</c:v>
                </c:pt>
                <c:pt idx="118" formatCode="0.00">
                  <c:v>325</c:v>
                </c:pt>
                <c:pt idx="119" formatCode="0.00">
                  <c:v>326.5</c:v>
                </c:pt>
                <c:pt idx="120" formatCode="0.00">
                  <c:v>328.5</c:v>
                </c:pt>
                <c:pt idx="121" formatCode="0.00">
                  <c:v>331</c:v>
                </c:pt>
                <c:pt idx="122" formatCode="0.00">
                  <c:v>336.5</c:v>
                </c:pt>
                <c:pt idx="123" formatCode="0.00">
                  <c:v>339.5</c:v>
                </c:pt>
                <c:pt idx="124" formatCode="0.00">
                  <c:v>342</c:v>
                </c:pt>
                <c:pt idx="125" formatCode="0.00">
                  <c:v>341.5</c:v>
                </c:pt>
                <c:pt idx="126" formatCode="0.00">
                  <c:v>343.5</c:v>
                </c:pt>
                <c:pt idx="127" formatCode="0.00">
                  <c:v>344.5</c:v>
                </c:pt>
                <c:pt idx="128" formatCode="0.00">
                  <c:v>345</c:v>
                </c:pt>
                <c:pt idx="129" formatCode="0.00">
                  <c:v>345</c:v>
                </c:pt>
                <c:pt idx="130" formatCode="0.00">
                  <c:v>345.5</c:v>
                </c:pt>
                <c:pt idx="131" formatCode="0.00">
                  <c:v>346</c:v>
                </c:pt>
                <c:pt idx="132" formatCode="0.00">
                  <c:v>347</c:v>
                </c:pt>
                <c:pt idx="133" formatCode="0.00">
                  <c:v>347.5</c:v>
                </c:pt>
                <c:pt idx="134" formatCode="0.00">
                  <c:v>348.5</c:v>
                </c:pt>
                <c:pt idx="135" formatCode="0.00">
                  <c:v>349.5</c:v>
                </c:pt>
                <c:pt idx="136" formatCode="0.00">
                  <c:v>349.5</c:v>
                </c:pt>
                <c:pt idx="137" formatCode="0.00">
                  <c:v>350.5</c:v>
                </c:pt>
                <c:pt idx="138" formatCode="0.00">
                  <c:v>351</c:v>
                </c:pt>
                <c:pt idx="139" formatCode="0.00">
                  <c:v>353</c:v>
                </c:pt>
                <c:pt idx="140" formatCode="0.00">
                  <c:v>354.5</c:v>
                </c:pt>
                <c:pt idx="141" formatCode="0.00">
                  <c:v>355.5</c:v>
                </c:pt>
                <c:pt idx="142" formatCode="0.00">
                  <c:v>358</c:v>
                </c:pt>
                <c:pt idx="143" formatCode="0.00">
                  <c:v>359.5</c:v>
                </c:pt>
                <c:pt idx="144" formatCode="0.00">
                  <c:v>361.5</c:v>
                </c:pt>
                <c:pt idx="145" formatCode="0.00">
                  <c:v>364.5</c:v>
                </c:pt>
                <c:pt idx="146" formatCode="0.00">
                  <c:v>367</c:v>
                </c:pt>
                <c:pt idx="147" formatCode="0.00">
                  <c:v>369</c:v>
                </c:pt>
                <c:pt idx="148" formatCode="0.00">
                  <c:v>369</c:v>
                </c:pt>
                <c:pt idx="149" formatCode="0.00">
                  <c:v>369.5</c:v>
                </c:pt>
                <c:pt idx="150" formatCode="0.00">
                  <c:v>370</c:v>
                </c:pt>
                <c:pt idx="151" formatCode="0.00">
                  <c:v>370.5</c:v>
                </c:pt>
                <c:pt idx="152" formatCode="0.00">
                  <c:v>370</c:v>
                </c:pt>
                <c:pt idx="153" formatCode="0.00">
                  <c:v>370</c:v>
                </c:pt>
                <c:pt idx="154" formatCode="0.00">
                  <c:v>370</c:v>
                </c:pt>
                <c:pt idx="155" formatCode="0.00">
                  <c:v>371</c:v>
                </c:pt>
                <c:pt idx="156" formatCode="0.00">
                  <c:v>370.5</c:v>
                </c:pt>
                <c:pt idx="157" formatCode="0.00">
                  <c:v>370.5</c:v>
                </c:pt>
                <c:pt idx="158" formatCode="0.00">
                  <c:v>370.5</c:v>
                </c:pt>
                <c:pt idx="159" formatCode="0.00">
                  <c:v>371</c:v>
                </c:pt>
                <c:pt idx="160" formatCode="0.00">
                  <c:v>370.5</c:v>
                </c:pt>
                <c:pt idx="161" formatCode="0.00">
                  <c:v>371.5</c:v>
                </c:pt>
                <c:pt idx="162" formatCode="0.00">
                  <c:v>372.5</c:v>
                </c:pt>
                <c:pt idx="163" formatCode="0.00">
                  <c:v>372.5</c:v>
                </c:pt>
                <c:pt idx="164" formatCode="0.00">
                  <c:v>375</c:v>
                </c:pt>
                <c:pt idx="165" formatCode="0.00">
                  <c:v>377.5</c:v>
                </c:pt>
                <c:pt idx="166" formatCode="0.00">
                  <c:v>379</c:v>
                </c:pt>
                <c:pt idx="167" formatCode="0.00">
                  <c:v>381</c:v>
                </c:pt>
                <c:pt idx="168" formatCode="0.00">
                  <c:v>382.5</c:v>
                </c:pt>
                <c:pt idx="169" formatCode="0.00">
                  <c:v>378</c:v>
                </c:pt>
                <c:pt idx="170" formatCode="0.00">
                  <c:v>380.5</c:v>
                </c:pt>
                <c:pt idx="171" formatCode="0.00">
                  <c:v>386.5</c:v>
                </c:pt>
                <c:pt idx="172" formatCode="0.00">
                  <c:v>388.5</c:v>
                </c:pt>
                <c:pt idx="173" formatCode="0.00">
                  <c:v>390.5</c:v>
                </c:pt>
                <c:pt idx="174" formatCode="0.00">
                  <c:v>393</c:v>
                </c:pt>
                <c:pt idx="175" formatCode="0.00">
                  <c:v>393</c:v>
                </c:pt>
                <c:pt idx="176" formatCode="0.00">
                  <c:v>394</c:v>
                </c:pt>
                <c:pt idx="177" formatCode="0.00">
                  <c:v>394</c:v>
                </c:pt>
                <c:pt idx="178" formatCode="0.00">
                  <c:v>394</c:v>
                </c:pt>
                <c:pt idx="179" formatCode="0.00">
                  <c:v>394</c:v>
                </c:pt>
                <c:pt idx="180" formatCode="0.00">
                  <c:v>394</c:v>
                </c:pt>
                <c:pt idx="181" formatCode="0.00">
                  <c:v>394</c:v>
                </c:pt>
                <c:pt idx="182" formatCode="0.00">
                  <c:v>394</c:v>
                </c:pt>
                <c:pt idx="183" formatCode="0.00">
                  <c:v>393.5</c:v>
                </c:pt>
                <c:pt idx="184" formatCode="0.00">
                  <c:v>393.5</c:v>
                </c:pt>
                <c:pt idx="185" formatCode="0.00">
                  <c:v>393.5</c:v>
                </c:pt>
                <c:pt idx="186" formatCode="0.00">
                  <c:v>393.5</c:v>
                </c:pt>
                <c:pt idx="187" formatCode="0.00">
                  <c:v>391.5</c:v>
                </c:pt>
                <c:pt idx="188" formatCode="0.00">
                  <c:v>395</c:v>
                </c:pt>
                <c:pt idx="189" formatCode="0.00">
                  <c:v>397</c:v>
                </c:pt>
                <c:pt idx="190" formatCode="0.00">
                  <c:v>400.5</c:v>
                </c:pt>
                <c:pt idx="191" formatCode="0.00">
                  <c:v>412</c:v>
                </c:pt>
                <c:pt idx="192" formatCode="0.00">
                  <c:v>416.5</c:v>
                </c:pt>
                <c:pt idx="193" formatCode="0.00">
                  <c:v>420.5</c:v>
                </c:pt>
                <c:pt idx="194" formatCode="0.00">
                  <c:v>423</c:v>
                </c:pt>
                <c:pt idx="195" formatCode="0.00">
                  <c:v>425.5</c:v>
                </c:pt>
                <c:pt idx="196" formatCode="0.00">
                  <c:v>425</c:v>
                </c:pt>
                <c:pt idx="197" formatCode="0.00">
                  <c:v>426</c:v>
                </c:pt>
                <c:pt idx="198" formatCode="0.00">
                  <c:v>426.5</c:v>
                </c:pt>
                <c:pt idx="199" formatCode="0.00">
                  <c:v>427.5</c:v>
                </c:pt>
                <c:pt idx="200" formatCode="0.00">
                  <c:v>429.5</c:v>
                </c:pt>
                <c:pt idx="201" formatCode="0.00">
                  <c:v>431</c:v>
                </c:pt>
                <c:pt idx="202" formatCode="0.00">
                  <c:v>431</c:v>
                </c:pt>
                <c:pt idx="203" formatCode="0.00">
                  <c:v>431.5</c:v>
                </c:pt>
                <c:pt idx="204" formatCode="0.00">
                  <c:v>432</c:v>
                </c:pt>
                <c:pt idx="205" formatCode="0.00">
                  <c:v>433.5</c:v>
                </c:pt>
                <c:pt idx="206" formatCode="0.00">
                  <c:v>432</c:v>
                </c:pt>
                <c:pt idx="207" formatCode="0.00">
                  <c:v>432.5</c:v>
                </c:pt>
                <c:pt idx="208" formatCode="0.00">
                  <c:v>432</c:v>
                </c:pt>
                <c:pt idx="209" formatCode="0.00">
                  <c:v>432.5</c:v>
                </c:pt>
                <c:pt idx="210" formatCode="0.00">
                  <c:v>433</c:v>
                </c:pt>
                <c:pt idx="211" formatCode="0.00">
                  <c:v>430.5</c:v>
                </c:pt>
                <c:pt idx="212" formatCode="0.00">
                  <c:v>429</c:v>
                </c:pt>
                <c:pt idx="213" formatCode="0.00">
                  <c:v>432</c:v>
                </c:pt>
                <c:pt idx="214" formatCode="0.00">
                  <c:v>435</c:v>
                </c:pt>
                <c:pt idx="215" formatCode="0.00">
                  <c:v>436.5</c:v>
                </c:pt>
                <c:pt idx="216" formatCode="0.00">
                  <c:v>439</c:v>
                </c:pt>
                <c:pt idx="217" formatCode="0.00">
                  <c:v>440.5</c:v>
                </c:pt>
                <c:pt idx="218" formatCode="0.00">
                  <c:v>441</c:v>
                </c:pt>
                <c:pt idx="219" formatCode="0.00">
                  <c:v>442.5</c:v>
                </c:pt>
                <c:pt idx="220" formatCode="0.00">
                  <c:v>442</c:v>
                </c:pt>
                <c:pt idx="221" formatCode="0.00">
                  <c:v>442.5</c:v>
                </c:pt>
                <c:pt idx="222" formatCode="0.00">
                  <c:v>442</c:v>
                </c:pt>
                <c:pt idx="223" formatCode="0.00">
                  <c:v>441.5</c:v>
                </c:pt>
                <c:pt idx="224" formatCode="0.00">
                  <c:v>441.5</c:v>
                </c:pt>
                <c:pt idx="225" formatCode="0.00">
                  <c:v>441</c:v>
                </c:pt>
                <c:pt idx="226" formatCode="0.00">
                  <c:v>440.5</c:v>
                </c:pt>
                <c:pt idx="227" formatCode="0.00">
                  <c:v>441</c:v>
                </c:pt>
                <c:pt idx="228" formatCode="0.00">
                  <c:v>441</c:v>
                </c:pt>
                <c:pt idx="229" formatCode="0.00">
                  <c:v>439.5</c:v>
                </c:pt>
                <c:pt idx="230" formatCode="0.00">
                  <c:v>441</c:v>
                </c:pt>
                <c:pt idx="231" formatCode="0.00">
                  <c:v>440.5</c:v>
                </c:pt>
                <c:pt idx="232" formatCode="0.00">
                  <c:v>440</c:v>
                </c:pt>
                <c:pt idx="233" formatCode="0.00">
                  <c:v>439</c:v>
                </c:pt>
                <c:pt idx="234" formatCode="0.00">
                  <c:v>441</c:v>
                </c:pt>
                <c:pt idx="235" formatCode="0.00">
                  <c:v>440.5</c:v>
                </c:pt>
                <c:pt idx="236" formatCode="0.00">
                  <c:v>436</c:v>
                </c:pt>
                <c:pt idx="237" formatCode="0.00">
                  <c:v>435.5</c:v>
                </c:pt>
                <c:pt idx="238" formatCode="0.00">
                  <c:v>438</c:v>
                </c:pt>
                <c:pt idx="239" formatCode="0.00">
                  <c:v>438</c:v>
                </c:pt>
                <c:pt idx="240" formatCode="0.00">
                  <c:v>440</c:v>
                </c:pt>
                <c:pt idx="241" formatCode="0.00">
                  <c:v>440</c:v>
                </c:pt>
                <c:pt idx="242" formatCode="0.00">
                  <c:v>441</c:v>
                </c:pt>
                <c:pt idx="243" formatCode="0.00">
                  <c:v>441</c:v>
                </c:pt>
                <c:pt idx="244" formatCode="0.00">
                  <c:v>441</c:v>
                </c:pt>
                <c:pt idx="245" formatCode="0.00">
                  <c:v>441</c:v>
                </c:pt>
                <c:pt idx="246" formatCode="0.00">
                  <c:v>442</c:v>
                </c:pt>
                <c:pt idx="247" formatCode="0.00">
                  <c:v>440</c:v>
                </c:pt>
                <c:pt idx="248" formatCode="0.00">
                  <c:v>439.5</c:v>
                </c:pt>
                <c:pt idx="249" formatCode="0.00">
                  <c:v>437.5</c:v>
                </c:pt>
                <c:pt idx="250" formatCode="0.00">
                  <c:v>438</c:v>
                </c:pt>
                <c:pt idx="251" formatCode="0.00">
                  <c:v>435.5</c:v>
                </c:pt>
                <c:pt idx="252" formatCode="0.00">
                  <c:v>434.5</c:v>
                </c:pt>
                <c:pt idx="253" formatCode="0.00">
                  <c:v>433.5</c:v>
                </c:pt>
                <c:pt idx="254" formatCode="0.00">
                  <c:v>433</c:v>
                </c:pt>
                <c:pt idx="255" formatCode="0.00">
                  <c:v>433</c:v>
                </c:pt>
                <c:pt idx="256" formatCode="0.00">
                  <c:v>432</c:v>
                </c:pt>
                <c:pt idx="257" formatCode="0.00">
                  <c:v>432</c:v>
                </c:pt>
                <c:pt idx="258" formatCode="0.00">
                  <c:v>432.5</c:v>
                </c:pt>
                <c:pt idx="259" formatCode="0.00">
                  <c:v>433.5</c:v>
                </c:pt>
                <c:pt idx="260" formatCode="0.00">
                  <c:v>434.5</c:v>
                </c:pt>
                <c:pt idx="261" formatCode="0.00">
                  <c:v>435.5</c:v>
                </c:pt>
                <c:pt idx="262" formatCode="0.00">
                  <c:v>431.5</c:v>
                </c:pt>
                <c:pt idx="263" formatCode="0.00">
                  <c:v>431.5</c:v>
                </c:pt>
                <c:pt idx="264" formatCode="0.00">
                  <c:v>432</c:v>
                </c:pt>
                <c:pt idx="265" formatCode="0.00">
                  <c:v>430</c:v>
                </c:pt>
                <c:pt idx="266" formatCode="0.00">
                  <c:v>432.5</c:v>
                </c:pt>
                <c:pt idx="267" formatCode="0.00">
                  <c:v>434.5</c:v>
                </c:pt>
                <c:pt idx="268" formatCode="0.00">
                  <c:v>435.5</c:v>
                </c:pt>
                <c:pt idx="269" formatCode="0.00">
                  <c:v>438</c:v>
                </c:pt>
                <c:pt idx="270" formatCode="0.00">
                  <c:v>439</c:v>
                </c:pt>
                <c:pt idx="271" formatCode="0.00">
                  <c:v>441</c:v>
                </c:pt>
                <c:pt idx="272" formatCode="0.00">
                  <c:v>441.5</c:v>
                </c:pt>
                <c:pt idx="273" formatCode="0.00">
                  <c:v>443.5</c:v>
                </c:pt>
                <c:pt idx="274" formatCode="0.00">
                  <c:v>444</c:v>
                </c:pt>
                <c:pt idx="275" formatCode="0.00">
                  <c:v>444</c:v>
                </c:pt>
                <c:pt idx="276" formatCode="0.00">
                  <c:v>445.5</c:v>
                </c:pt>
                <c:pt idx="277" formatCode="0.00">
                  <c:v>444</c:v>
                </c:pt>
                <c:pt idx="278" formatCode="0.00">
                  <c:v>444</c:v>
                </c:pt>
                <c:pt idx="279" formatCode="0.00">
                  <c:v>446</c:v>
                </c:pt>
                <c:pt idx="280" formatCode="0.00">
                  <c:v>445.5</c:v>
                </c:pt>
                <c:pt idx="281" formatCode="0.00">
                  <c:v>445</c:v>
                </c:pt>
                <c:pt idx="282" formatCode="0.00">
                  <c:v>446</c:v>
                </c:pt>
                <c:pt idx="283" formatCode="0.00">
                  <c:v>446</c:v>
                </c:pt>
                <c:pt idx="284" formatCode="0.00">
                  <c:v>447</c:v>
                </c:pt>
                <c:pt idx="285" formatCode="0.00">
                  <c:v>447</c:v>
                </c:pt>
                <c:pt idx="286" formatCode="0.00">
                  <c:v>448.5</c:v>
                </c:pt>
                <c:pt idx="287" formatCode="0.00">
                  <c:v>444</c:v>
                </c:pt>
                <c:pt idx="288" formatCode="0.00">
                  <c:v>444.5</c:v>
                </c:pt>
                <c:pt idx="289" formatCode="0.00">
                  <c:v>446.5</c:v>
                </c:pt>
                <c:pt idx="290" formatCode="0.00">
                  <c:v>448.5</c:v>
                </c:pt>
                <c:pt idx="291" formatCode="0.00">
                  <c:v>449.5</c:v>
                </c:pt>
                <c:pt idx="292" formatCode="0.00">
                  <c:v>450.5</c:v>
                </c:pt>
                <c:pt idx="293" formatCode="0.00">
                  <c:v>450.5</c:v>
                </c:pt>
                <c:pt idx="294" formatCode="0.00">
                  <c:v>450</c:v>
                </c:pt>
                <c:pt idx="295" formatCode="0.00">
                  <c:v>449.5</c:v>
                </c:pt>
                <c:pt idx="296" formatCode="0.00">
                  <c:v>449</c:v>
                </c:pt>
                <c:pt idx="297" formatCode="0.00">
                  <c:v>448.5</c:v>
                </c:pt>
                <c:pt idx="298" formatCode="0.00">
                  <c:v>449</c:v>
                </c:pt>
                <c:pt idx="299" formatCode="0.00">
                  <c:v>447.5</c:v>
                </c:pt>
                <c:pt idx="300" formatCode="0.00">
                  <c:v>447.5</c:v>
                </c:pt>
                <c:pt idx="301" formatCode="0.00">
                  <c:v>447.5</c:v>
                </c:pt>
                <c:pt idx="302" formatCode="0.00">
                  <c:v>448.5</c:v>
                </c:pt>
                <c:pt idx="303" formatCode="0.00">
                  <c:v>446.5</c:v>
                </c:pt>
                <c:pt idx="304" formatCode="0.00">
                  <c:v>446</c:v>
                </c:pt>
                <c:pt idx="305" formatCode="0.00">
                  <c:v>446</c:v>
                </c:pt>
                <c:pt idx="306" formatCode="0.00">
                  <c:v>447.5</c:v>
                </c:pt>
                <c:pt idx="307" formatCode="0.00">
                  <c:v>446.5</c:v>
                </c:pt>
                <c:pt idx="308" formatCode="0.00">
                  <c:v>447</c:v>
                </c:pt>
                <c:pt idx="309" formatCode="0.00">
                  <c:v>447</c:v>
                </c:pt>
                <c:pt idx="310" formatCode="0.00">
                  <c:v>449</c:v>
                </c:pt>
                <c:pt idx="311" formatCode="0.00">
                  <c:v>447.5</c:v>
                </c:pt>
                <c:pt idx="312" formatCode="0.00">
                  <c:v>450.5</c:v>
                </c:pt>
                <c:pt idx="313" formatCode="0.00">
                  <c:v>453.5</c:v>
                </c:pt>
                <c:pt idx="314" formatCode="0.00">
                  <c:v>455.5</c:v>
                </c:pt>
                <c:pt idx="315" formatCode="0.00">
                  <c:v>457.5</c:v>
                </c:pt>
                <c:pt idx="316" formatCode="0.00">
                  <c:v>458.5</c:v>
                </c:pt>
                <c:pt idx="317" formatCode="0.00">
                  <c:v>458.5</c:v>
                </c:pt>
                <c:pt idx="318" formatCode="0.00">
                  <c:v>458.5</c:v>
                </c:pt>
                <c:pt idx="319" formatCode="0.00">
                  <c:v>458</c:v>
                </c:pt>
                <c:pt idx="320" formatCode="0.00">
                  <c:v>457.5</c:v>
                </c:pt>
                <c:pt idx="321" formatCode="0.00">
                  <c:v>457.5</c:v>
                </c:pt>
                <c:pt idx="322" formatCode="0.00">
                  <c:v>457</c:v>
                </c:pt>
                <c:pt idx="323" formatCode="0.00">
                  <c:v>456</c:v>
                </c:pt>
                <c:pt idx="324" formatCode="0.00">
                  <c:v>455.5</c:v>
                </c:pt>
                <c:pt idx="325" formatCode="0.00">
                  <c:v>455</c:v>
                </c:pt>
                <c:pt idx="326" formatCode="0.00">
                  <c:v>455</c:v>
                </c:pt>
                <c:pt idx="327" formatCode="0.00">
                  <c:v>455</c:v>
                </c:pt>
                <c:pt idx="328" formatCode="0.00">
                  <c:v>454</c:v>
                </c:pt>
                <c:pt idx="329" formatCode="0.00">
                  <c:v>454</c:v>
                </c:pt>
                <c:pt idx="330" formatCode="0.00">
                  <c:v>455</c:v>
                </c:pt>
                <c:pt idx="331" formatCode="0.00">
                  <c:v>454</c:v>
                </c:pt>
                <c:pt idx="332" formatCode="0.00">
                  <c:v>454.5</c:v>
                </c:pt>
                <c:pt idx="333" formatCode="0.00">
                  <c:v>45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3961-224D-80C1-0037B60455A0}"/>
            </c:ext>
          </c:extLst>
        </c:ser>
        <c:ser>
          <c:idx val="1"/>
          <c:order val="1"/>
          <c:tx>
            <c:v>Average Screened</c:v>
          </c:tx>
          <c:spPr>
            <a:ln w="25400" cap="rnd">
              <a:solidFill>
                <a:srgbClr val="C90424"/>
              </a:solidFill>
              <a:round/>
            </a:ln>
            <a:effectLst/>
          </c:spPr>
          <c:marker>
            <c:symbol val="circle"/>
            <c:size val="5"/>
            <c:spPr>
              <a:noFill/>
              <a:ln w="9525">
                <a:noFill/>
              </a:ln>
              <a:effectLst/>
            </c:spPr>
          </c:marker>
          <c:xVal>
            <c:numRef>
              <c:f>'p comp avg scre vs unscr'!$W$27:$W$697</c:f>
              <c:numCache>
                <c:formatCode>General</c:formatCode>
                <c:ptCount val="671"/>
                <c:pt idx="0">
                  <c:v>0</c:v>
                </c:pt>
                <c:pt idx="1">
                  <c:v>4.1666666666666664E-2</c:v>
                </c:pt>
                <c:pt idx="2">
                  <c:v>8.3333333333333329E-2</c:v>
                </c:pt>
                <c:pt idx="3">
                  <c:v>0.125</c:v>
                </c:pt>
                <c:pt idx="4">
                  <c:v>0.16666666666666666</c:v>
                </c:pt>
                <c:pt idx="5">
                  <c:v>0.20833333333333334</c:v>
                </c:pt>
                <c:pt idx="6">
                  <c:v>0.25</c:v>
                </c:pt>
                <c:pt idx="7">
                  <c:v>0.29166666666666669</c:v>
                </c:pt>
                <c:pt idx="8">
                  <c:v>0.33333333333333331</c:v>
                </c:pt>
                <c:pt idx="9">
                  <c:v>0.375</c:v>
                </c:pt>
                <c:pt idx="10">
                  <c:v>0.41666666666666669</c:v>
                </c:pt>
                <c:pt idx="11">
                  <c:v>0.45833333333333331</c:v>
                </c:pt>
                <c:pt idx="12">
                  <c:v>0.5</c:v>
                </c:pt>
                <c:pt idx="13">
                  <c:v>0.54166666666666663</c:v>
                </c:pt>
                <c:pt idx="14">
                  <c:v>0.58333333333333337</c:v>
                </c:pt>
                <c:pt idx="15">
                  <c:v>0.625</c:v>
                </c:pt>
                <c:pt idx="16">
                  <c:v>0.66666666666666663</c:v>
                </c:pt>
                <c:pt idx="17">
                  <c:v>0.70833333333333337</c:v>
                </c:pt>
                <c:pt idx="18">
                  <c:v>0.75</c:v>
                </c:pt>
                <c:pt idx="19">
                  <c:v>0.79166666666666663</c:v>
                </c:pt>
                <c:pt idx="20">
                  <c:v>0.83333333333333337</c:v>
                </c:pt>
                <c:pt idx="21">
                  <c:v>0.875</c:v>
                </c:pt>
                <c:pt idx="22">
                  <c:v>0.91666666666666663</c:v>
                </c:pt>
                <c:pt idx="23">
                  <c:v>0.95833333333333337</c:v>
                </c:pt>
                <c:pt idx="24">
                  <c:v>1</c:v>
                </c:pt>
                <c:pt idx="25">
                  <c:v>1.0416666666666667</c:v>
                </c:pt>
                <c:pt idx="26">
                  <c:v>1.0833333333333333</c:v>
                </c:pt>
                <c:pt idx="27">
                  <c:v>1.125</c:v>
                </c:pt>
                <c:pt idx="28">
                  <c:v>1.1666666666666667</c:v>
                </c:pt>
                <c:pt idx="29">
                  <c:v>1.2083333333333333</c:v>
                </c:pt>
                <c:pt idx="30">
                  <c:v>1.25</c:v>
                </c:pt>
                <c:pt idx="31">
                  <c:v>1.2916666666666667</c:v>
                </c:pt>
                <c:pt idx="32">
                  <c:v>1.3333333333333333</c:v>
                </c:pt>
                <c:pt idx="33">
                  <c:v>1.375</c:v>
                </c:pt>
                <c:pt idx="34">
                  <c:v>1.4166666666666667</c:v>
                </c:pt>
                <c:pt idx="35">
                  <c:v>1.4583333333333333</c:v>
                </c:pt>
                <c:pt idx="36">
                  <c:v>1.5</c:v>
                </c:pt>
                <c:pt idx="37">
                  <c:v>1.5416666666666667</c:v>
                </c:pt>
                <c:pt idx="38">
                  <c:v>1.5833333333333333</c:v>
                </c:pt>
                <c:pt idx="39">
                  <c:v>1.625</c:v>
                </c:pt>
                <c:pt idx="40">
                  <c:v>1.6666666666666667</c:v>
                </c:pt>
                <c:pt idx="41">
                  <c:v>1.7083333333333333</c:v>
                </c:pt>
                <c:pt idx="42">
                  <c:v>1.75</c:v>
                </c:pt>
                <c:pt idx="43">
                  <c:v>1.7916666666666667</c:v>
                </c:pt>
                <c:pt idx="44">
                  <c:v>1.8333333333333333</c:v>
                </c:pt>
                <c:pt idx="45">
                  <c:v>1.875</c:v>
                </c:pt>
                <c:pt idx="46">
                  <c:v>1.9166666666666667</c:v>
                </c:pt>
                <c:pt idx="47">
                  <c:v>1.9583333333333333</c:v>
                </c:pt>
                <c:pt idx="48">
                  <c:v>2</c:v>
                </c:pt>
                <c:pt idx="49">
                  <c:v>2.0416666666666665</c:v>
                </c:pt>
                <c:pt idx="50">
                  <c:v>2.0833333333333335</c:v>
                </c:pt>
                <c:pt idx="51">
                  <c:v>2.125</c:v>
                </c:pt>
                <c:pt idx="52">
                  <c:v>2.1666666666666665</c:v>
                </c:pt>
                <c:pt idx="53">
                  <c:v>2.2083333333333335</c:v>
                </c:pt>
                <c:pt idx="54">
                  <c:v>2.25</c:v>
                </c:pt>
                <c:pt idx="55">
                  <c:v>2.2916666666666665</c:v>
                </c:pt>
                <c:pt idx="56">
                  <c:v>2.3333333333333335</c:v>
                </c:pt>
                <c:pt idx="57">
                  <c:v>2.375</c:v>
                </c:pt>
                <c:pt idx="58">
                  <c:v>2.4166666666666665</c:v>
                </c:pt>
                <c:pt idx="59">
                  <c:v>2.4583333333333335</c:v>
                </c:pt>
                <c:pt idx="60">
                  <c:v>2.5</c:v>
                </c:pt>
                <c:pt idx="61">
                  <c:v>2.5416666666666665</c:v>
                </c:pt>
                <c:pt idx="62">
                  <c:v>2.5833333333333335</c:v>
                </c:pt>
                <c:pt idx="63">
                  <c:v>2.625</c:v>
                </c:pt>
                <c:pt idx="64">
                  <c:v>2.6666666666666665</c:v>
                </c:pt>
                <c:pt idx="65">
                  <c:v>2.7083333333333335</c:v>
                </c:pt>
                <c:pt idx="66">
                  <c:v>2.75</c:v>
                </c:pt>
                <c:pt idx="67">
                  <c:v>2.7916666666666665</c:v>
                </c:pt>
                <c:pt idx="68">
                  <c:v>2.8333333333333335</c:v>
                </c:pt>
                <c:pt idx="69">
                  <c:v>2.875</c:v>
                </c:pt>
                <c:pt idx="70">
                  <c:v>2.9166666666666665</c:v>
                </c:pt>
                <c:pt idx="71">
                  <c:v>2.9583333333333335</c:v>
                </c:pt>
                <c:pt idx="72">
                  <c:v>3</c:v>
                </c:pt>
                <c:pt idx="73">
                  <c:v>3.0416666666666665</c:v>
                </c:pt>
                <c:pt idx="74">
                  <c:v>3.0833333333333335</c:v>
                </c:pt>
                <c:pt idx="75">
                  <c:v>3.125</c:v>
                </c:pt>
                <c:pt idx="76">
                  <c:v>3.1666666666666665</c:v>
                </c:pt>
                <c:pt idx="77">
                  <c:v>3.2083333333333335</c:v>
                </c:pt>
                <c:pt idx="78">
                  <c:v>3.25</c:v>
                </c:pt>
                <c:pt idx="79">
                  <c:v>3.2916666666666665</c:v>
                </c:pt>
                <c:pt idx="80">
                  <c:v>3.3333333333333335</c:v>
                </c:pt>
                <c:pt idx="81">
                  <c:v>3.375</c:v>
                </c:pt>
                <c:pt idx="82">
                  <c:v>3.4166666666666665</c:v>
                </c:pt>
                <c:pt idx="83">
                  <c:v>3.4583333333333335</c:v>
                </c:pt>
                <c:pt idx="84">
                  <c:v>3.5</c:v>
                </c:pt>
                <c:pt idx="85">
                  <c:v>3.5416666666666665</c:v>
                </c:pt>
                <c:pt idx="86">
                  <c:v>3.5833333333333335</c:v>
                </c:pt>
                <c:pt idx="87">
                  <c:v>3.625</c:v>
                </c:pt>
                <c:pt idx="88">
                  <c:v>3.6666666666666665</c:v>
                </c:pt>
                <c:pt idx="89">
                  <c:v>3.7083333333333335</c:v>
                </c:pt>
                <c:pt idx="90">
                  <c:v>3.75</c:v>
                </c:pt>
                <c:pt idx="91">
                  <c:v>3.7916666666666665</c:v>
                </c:pt>
                <c:pt idx="92">
                  <c:v>3.8333333333333335</c:v>
                </c:pt>
                <c:pt idx="93">
                  <c:v>3.875</c:v>
                </c:pt>
                <c:pt idx="94">
                  <c:v>3.9166666666666665</c:v>
                </c:pt>
                <c:pt idx="95">
                  <c:v>3.9583333333333335</c:v>
                </c:pt>
                <c:pt idx="96">
                  <c:v>4</c:v>
                </c:pt>
                <c:pt idx="97">
                  <c:v>4.041666666666667</c:v>
                </c:pt>
                <c:pt idx="98">
                  <c:v>4.083333333333333</c:v>
                </c:pt>
                <c:pt idx="99">
                  <c:v>4.125</c:v>
                </c:pt>
                <c:pt idx="100">
                  <c:v>4.166666666666667</c:v>
                </c:pt>
                <c:pt idx="101">
                  <c:v>4.208333333333333</c:v>
                </c:pt>
                <c:pt idx="102">
                  <c:v>4.25</c:v>
                </c:pt>
                <c:pt idx="103">
                  <c:v>4.291666666666667</c:v>
                </c:pt>
                <c:pt idx="104">
                  <c:v>4.333333333333333</c:v>
                </c:pt>
                <c:pt idx="105">
                  <c:v>4.375</c:v>
                </c:pt>
                <c:pt idx="106">
                  <c:v>4.416666666666667</c:v>
                </c:pt>
                <c:pt idx="107">
                  <c:v>4.458333333333333</c:v>
                </c:pt>
                <c:pt idx="108">
                  <c:v>4.5</c:v>
                </c:pt>
                <c:pt idx="109">
                  <c:v>4.541666666666667</c:v>
                </c:pt>
                <c:pt idx="110">
                  <c:v>4.583333333333333</c:v>
                </c:pt>
                <c:pt idx="111">
                  <c:v>4.625</c:v>
                </c:pt>
                <c:pt idx="112">
                  <c:v>4.666666666666667</c:v>
                </c:pt>
                <c:pt idx="113">
                  <c:v>4.708333333333333</c:v>
                </c:pt>
                <c:pt idx="114">
                  <c:v>4.75</c:v>
                </c:pt>
                <c:pt idx="115">
                  <c:v>4.791666666666667</c:v>
                </c:pt>
                <c:pt idx="116">
                  <c:v>4.833333333333333</c:v>
                </c:pt>
                <c:pt idx="117">
                  <c:v>4.875</c:v>
                </c:pt>
                <c:pt idx="118">
                  <c:v>4.916666666666667</c:v>
                </c:pt>
                <c:pt idx="119">
                  <c:v>4.958333333333333</c:v>
                </c:pt>
                <c:pt idx="120">
                  <c:v>5</c:v>
                </c:pt>
                <c:pt idx="121">
                  <c:v>5.041666666666667</c:v>
                </c:pt>
                <c:pt idx="122">
                  <c:v>5.083333333333333</c:v>
                </c:pt>
                <c:pt idx="123">
                  <c:v>5.125</c:v>
                </c:pt>
                <c:pt idx="124">
                  <c:v>5.166666666666667</c:v>
                </c:pt>
                <c:pt idx="125">
                  <c:v>5.208333333333333</c:v>
                </c:pt>
                <c:pt idx="126">
                  <c:v>5.25</c:v>
                </c:pt>
                <c:pt idx="127">
                  <c:v>5.291666666666667</c:v>
                </c:pt>
                <c:pt idx="128">
                  <c:v>5.333333333333333</c:v>
                </c:pt>
                <c:pt idx="129">
                  <c:v>5.375</c:v>
                </c:pt>
                <c:pt idx="130">
                  <c:v>5.416666666666667</c:v>
                </c:pt>
                <c:pt idx="131">
                  <c:v>5.458333333333333</c:v>
                </c:pt>
                <c:pt idx="132">
                  <c:v>5.5</c:v>
                </c:pt>
                <c:pt idx="133">
                  <c:v>5.541666666666667</c:v>
                </c:pt>
                <c:pt idx="134">
                  <c:v>5.583333333333333</c:v>
                </c:pt>
                <c:pt idx="135">
                  <c:v>5.625</c:v>
                </c:pt>
                <c:pt idx="136">
                  <c:v>5.666666666666667</c:v>
                </c:pt>
                <c:pt idx="137">
                  <c:v>5.708333333333333</c:v>
                </c:pt>
                <c:pt idx="138">
                  <c:v>5.75</c:v>
                </c:pt>
                <c:pt idx="139">
                  <c:v>5.791666666666667</c:v>
                </c:pt>
                <c:pt idx="140">
                  <c:v>5.833333333333333</c:v>
                </c:pt>
                <c:pt idx="141">
                  <c:v>5.875</c:v>
                </c:pt>
                <c:pt idx="142">
                  <c:v>5.916666666666667</c:v>
                </c:pt>
                <c:pt idx="143">
                  <c:v>5.958333333333333</c:v>
                </c:pt>
                <c:pt idx="144">
                  <c:v>6</c:v>
                </c:pt>
                <c:pt idx="145">
                  <c:v>6.041666666666667</c:v>
                </c:pt>
                <c:pt idx="146">
                  <c:v>6.083333333333333</c:v>
                </c:pt>
                <c:pt idx="147">
                  <c:v>6.125</c:v>
                </c:pt>
                <c:pt idx="148">
                  <c:v>6.166666666666667</c:v>
                </c:pt>
                <c:pt idx="149">
                  <c:v>6.208333333333333</c:v>
                </c:pt>
                <c:pt idx="150">
                  <c:v>6.25</c:v>
                </c:pt>
                <c:pt idx="151">
                  <c:v>6.291666666666667</c:v>
                </c:pt>
                <c:pt idx="152">
                  <c:v>6.333333333333333</c:v>
                </c:pt>
                <c:pt idx="153">
                  <c:v>6.375</c:v>
                </c:pt>
                <c:pt idx="154">
                  <c:v>6.416666666666667</c:v>
                </c:pt>
                <c:pt idx="155">
                  <c:v>6.458333333333333</c:v>
                </c:pt>
                <c:pt idx="156">
                  <c:v>6.5</c:v>
                </c:pt>
                <c:pt idx="157">
                  <c:v>6.541666666666667</c:v>
                </c:pt>
                <c:pt idx="158">
                  <c:v>6.583333333333333</c:v>
                </c:pt>
                <c:pt idx="159">
                  <c:v>6.625</c:v>
                </c:pt>
                <c:pt idx="160">
                  <c:v>6.666666666666667</c:v>
                </c:pt>
                <c:pt idx="161">
                  <c:v>6.708333333333333</c:v>
                </c:pt>
                <c:pt idx="162">
                  <c:v>6.75</c:v>
                </c:pt>
                <c:pt idx="163">
                  <c:v>6.791666666666667</c:v>
                </c:pt>
                <c:pt idx="164">
                  <c:v>6.833333333333333</c:v>
                </c:pt>
                <c:pt idx="165">
                  <c:v>6.875</c:v>
                </c:pt>
                <c:pt idx="166">
                  <c:v>6.916666666666667</c:v>
                </c:pt>
                <c:pt idx="167">
                  <c:v>6.958333333333333</c:v>
                </c:pt>
                <c:pt idx="168">
                  <c:v>7</c:v>
                </c:pt>
                <c:pt idx="169">
                  <c:v>7.041666666666667</c:v>
                </c:pt>
                <c:pt idx="170">
                  <c:v>7.083333333333333</c:v>
                </c:pt>
                <c:pt idx="171">
                  <c:v>7.125</c:v>
                </c:pt>
                <c:pt idx="172">
                  <c:v>7.166666666666667</c:v>
                </c:pt>
                <c:pt idx="173">
                  <c:v>7.208333333333333</c:v>
                </c:pt>
                <c:pt idx="174">
                  <c:v>7.25</c:v>
                </c:pt>
                <c:pt idx="175">
                  <c:v>7.291666666666667</c:v>
                </c:pt>
                <c:pt idx="176">
                  <c:v>7.333333333333333</c:v>
                </c:pt>
                <c:pt idx="177">
                  <c:v>7.375</c:v>
                </c:pt>
                <c:pt idx="178">
                  <c:v>7.416666666666667</c:v>
                </c:pt>
                <c:pt idx="179">
                  <c:v>7.458333333333333</c:v>
                </c:pt>
                <c:pt idx="180">
                  <c:v>7.5</c:v>
                </c:pt>
                <c:pt idx="181">
                  <c:v>7.541666666666667</c:v>
                </c:pt>
                <c:pt idx="182">
                  <c:v>7.583333333333333</c:v>
                </c:pt>
                <c:pt idx="183">
                  <c:v>7.625</c:v>
                </c:pt>
                <c:pt idx="184">
                  <c:v>7.666666666666667</c:v>
                </c:pt>
                <c:pt idx="185">
                  <c:v>7.708333333333333</c:v>
                </c:pt>
                <c:pt idx="186">
                  <c:v>7.75</c:v>
                </c:pt>
                <c:pt idx="187">
                  <c:v>7.791666666666667</c:v>
                </c:pt>
                <c:pt idx="188">
                  <c:v>7.833333333333333</c:v>
                </c:pt>
                <c:pt idx="189">
                  <c:v>7.875</c:v>
                </c:pt>
                <c:pt idx="190">
                  <c:v>7.916666666666667</c:v>
                </c:pt>
                <c:pt idx="191">
                  <c:v>7.958333333333333</c:v>
                </c:pt>
                <c:pt idx="192">
                  <c:v>8</c:v>
                </c:pt>
                <c:pt idx="193">
                  <c:v>8.0416666666666661</c:v>
                </c:pt>
                <c:pt idx="194">
                  <c:v>8.0833333333333339</c:v>
                </c:pt>
                <c:pt idx="195">
                  <c:v>8.125</c:v>
                </c:pt>
                <c:pt idx="196">
                  <c:v>8.1666666666666661</c:v>
                </c:pt>
                <c:pt idx="197">
                  <c:v>8.2083333333333339</c:v>
                </c:pt>
                <c:pt idx="198">
                  <c:v>8.25</c:v>
                </c:pt>
                <c:pt idx="199">
                  <c:v>8.2916666666666661</c:v>
                </c:pt>
                <c:pt idx="200">
                  <c:v>8.3333333333333339</c:v>
                </c:pt>
                <c:pt idx="201">
                  <c:v>8.375</c:v>
                </c:pt>
                <c:pt idx="202">
                  <c:v>8.4166666666666661</c:v>
                </c:pt>
                <c:pt idx="203">
                  <c:v>8.4583333333333339</c:v>
                </c:pt>
                <c:pt idx="204">
                  <c:v>8.5</c:v>
                </c:pt>
                <c:pt idx="205">
                  <c:v>8.5416666666666661</c:v>
                </c:pt>
                <c:pt idx="206">
                  <c:v>8.5833333333333339</c:v>
                </c:pt>
                <c:pt idx="207">
                  <c:v>8.625</c:v>
                </c:pt>
                <c:pt idx="208">
                  <c:v>8.6666666666666661</c:v>
                </c:pt>
                <c:pt idx="209">
                  <c:v>8.7083333333333339</c:v>
                </c:pt>
                <c:pt idx="210">
                  <c:v>8.75</c:v>
                </c:pt>
                <c:pt idx="211">
                  <c:v>8.7916666666666661</c:v>
                </c:pt>
                <c:pt idx="212">
                  <c:v>8.8333333333333339</c:v>
                </c:pt>
                <c:pt idx="213">
                  <c:v>8.875</c:v>
                </c:pt>
                <c:pt idx="214">
                  <c:v>8.9166666666666661</c:v>
                </c:pt>
                <c:pt idx="215">
                  <c:v>8.9583333333333339</c:v>
                </c:pt>
                <c:pt idx="216">
                  <c:v>9</c:v>
                </c:pt>
                <c:pt idx="217">
                  <c:v>9.0416666666666661</c:v>
                </c:pt>
                <c:pt idx="218">
                  <c:v>9.0833333333333339</c:v>
                </c:pt>
                <c:pt idx="219">
                  <c:v>9.125</c:v>
                </c:pt>
                <c:pt idx="220">
                  <c:v>9.1666666666666661</c:v>
                </c:pt>
                <c:pt idx="221">
                  <c:v>9.2083333333333339</c:v>
                </c:pt>
                <c:pt idx="222">
                  <c:v>9.25</c:v>
                </c:pt>
                <c:pt idx="223">
                  <c:v>9.2916666666666661</c:v>
                </c:pt>
                <c:pt idx="224">
                  <c:v>9.3333333333333339</c:v>
                </c:pt>
                <c:pt idx="225">
                  <c:v>9.375</c:v>
                </c:pt>
                <c:pt idx="226">
                  <c:v>9.4166666666666661</c:v>
                </c:pt>
                <c:pt idx="227">
                  <c:v>9.4583333333333339</c:v>
                </c:pt>
                <c:pt idx="228">
                  <c:v>9.5</c:v>
                </c:pt>
                <c:pt idx="229">
                  <c:v>9.5416666666666661</c:v>
                </c:pt>
                <c:pt idx="230">
                  <c:v>9.5833333333333339</c:v>
                </c:pt>
                <c:pt idx="231">
                  <c:v>9.625</c:v>
                </c:pt>
                <c:pt idx="232">
                  <c:v>9.6666666666666661</c:v>
                </c:pt>
                <c:pt idx="233">
                  <c:v>9.7083333333333339</c:v>
                </c:pt>
                <c:pt idx="234">
                  <c:v>9.75</c:v>
                </c:pt>
                <c:pt idx="235">
                  <c:v>9.7916666666666661</c:v>
                </c:pt>
                <c:pt idx="236">
                  <c:v>9.8333333333333339</c:v>
                </c:pt>
                <c:pt idx="237">
                  <c:v>9.875</c:v>
                </c:pt>
                <c:pt idx="238">
                  <c:v>9.9166666666666661</c:v>
                </c:pt>
                <c:pt idx="239">
                  <c:v>9.9583333333333339</c:v>
                </c:pt>
                <c:pt idx="240">
                  <c:v>10</c:v>
                </c:pt>
                <c:pt idx="241">
                  <c:v>10.041666666666666</c:v>
                </c:pt>
                <c:pt idx="242">
                  <c:v>10.083333333333334</c:v>
                </c:pt>
                <c:pt idx="243">
                  <c:v>10.125</c:v>
                </c:pt>
                <c:pt idx="244">
                  <c:v>10.166666666666666</c:v>
                </c:pt>
                <c:pt idx="245">
                  <c:v>10.208333333333334</c:v>
                </c:pt>
                <c:pt idx="246">
                  <c:v>10.25</c:v>
                </c:pt>
                <c:pt idx="247">
                  <c:v>10.291666666666666</c:v>
                </c:pt>
                <c:pt idx="248">
                  <c:v>10.333333333333334</c:v>
                </c:pt>
                <c:pt idx="249">
                  <c:v>10.375</c:v>
                </c:pt>
                <c:pt idx="250">
                  <c:v>10.416666666666666</c:v>
                </c:pt>
                <c:pt idx="251">
                  <c:v>10.458333333333334</c:v>
                </c:pt>
                <c:pt idx="252">
                  <c:v>10.5</c:v>
                </c:pt>
                <c:pt idx="253">
                  <c:v>10.541666666666666</c:v>
                </c:pt>
                <c:pt idx="254">
                  <c:v>10.583333333333334</c:v>
                </c:pt>
                <c:pt idx="255">
                  <c:v>10.625</c:v>
                </c:pt>
                <c:pt idx="256">
                  <c:v>10.666666666666666</c:v>
                </c:pt>
                <c:pt idx="257">
                  <c:v>10.708333333333334</c:v>
                </c:pt>
                <c:pt idx="258">
                  <c:v>10.75</c:v>
                </c:pt>
                <c:pt idx="259">
                  <c:v>10.791666666666666</c:v>
                </c:pt>
                <c:pt idx="260">
                  <c:v>10.833333333333334</c:v>
                </c:pt>
                <c:pt idx="261">
                  <c:v>10.875</c:v>
                </c:pt>
                <c:pt idx="262">
                  <c:v>10.916666666666666</c:v>
                </c:pt>
                <c:pt idx="263">
                  <c:v>10.958333333333334</c:v>
                </c:pt>
                <c:pt idx="264">
                  <c:v>11</c:v>
                </c:pt>
                <c:pt idx="265">
                  <c:v>11.041666666666666</c:v>
                </c:pt>
                <c:pt idx="266">
                  <c:v>11.083333333333334</c:v>
                </c:pt>
                <c:pt idx="267">
                  <c:v>11.125</c:v>
                </c:pt>
                <c:pt idx="268">
                  <c:v>11.166666666666666</c:v>
                </c:pt>
                <c:pt idx="269">
                  <c:v>11.208333333333334</c:v>
                </c:pt>
                <c:pt idx="270">
                  <c:v>11.25</c:v>
                </c:pt>
                <c:pt idx="271">
                  <c:v>11.291666666666666</c:v>
                </c:pt>
                <c:pt idx="272">
                  <c:v>11.333333333333334</c:v>
                </c:pt>
                <c:pt idx="273">
                  <c:v>11.375</c:v>
                </c:pt>
                <c:pt idx="274">
                  <c:v>11.416666666666666</c:v>
                </c:pt>
                <c:pt idx="275">
                  <c:v>11.458333333333334</c:v>
                </c:pt>
                <c:pt idx="276">
                  <c:v>11.5</c:v>
                </c:pt>
                <c:pt idx="277">
                  <c:v>11.541666666666666</c:v>
                </c:pt>
                <c:pt idx="278">
                  <c:v>11.583333333333334</c:v>
                </c:pt>
                <c:pt idx="279">
                  <c:v>11.625</c:v>
                </c:pt>
                <c:pt idx="280">
                  <c:v>11.666666666666666</c:v>
                </c:pt>
                <c:pt idx="281">
                  <c:v>11.708333333333334</c:v>
                </c:pt>
                <c:pt idx="282">
                  <c:v>11.75</c:v>
                </c:pt>
                <c:pt idx="283">
                  <c:v>11.791666666666666</c:v>
                </c:pt>
                <c:pt idx="284">
                  <c:v>11.833333333333334</c:v>
                </c:pt>
                <c:pt idx="285">
                  <c:v>11.875</c:v>
                </c:pt>
                <c:pt idx="286">
                  <c:v>11.916666666666666</c:v>
                </c:pt>
                <c:pt idx="287">
                  <c:v>11.958333333333334</c:v>
                </c:pt>
                <c:pt idx="288">
                  <c:v>12</c:v>
                </c:pt>
                <c:pt idx="289">
                  <c:v>12.041666666666666</c:v>
                </c:pt>
                <c:pt idx="290">
                  <c:v>12.083333333333334</c:v>
                </c:pt>
                <c:pt idx="291">
                  <c:v>12.125</c:v>
                </c:pt>
                <c:pt idx="292">
                  <c:v>12.166666666666666</c:v>
                </c:pt>
                <c:pt idx="293">
                  <c:v>12.208333333333334</c:v>
                </c:pt>
                <c:pt idx="294">
                  <c:v>12.25</c:v>
                </c:pt>
                <c:pt idx="295">
                  <c:v>12.291666666666666</c:v>
                </c:pt>
                <c:pt idx="296">
                  <c:v>12.333333333333334</c:v>
                </c:pt>
                <c:pt idx="297">
                  <c:v>12.375</c:v>
                </c:pt>
                <c:pt idx="298">
                  <c:v>12.416666666666666</c:v>
                </c:pt>
                <c:pt idx="299">
                  <c:v>12.458333333333334</c:v>
                </c:pt>
                <c:pt idx="300">
                  <c:v>12.5</c:v>
                </c:pt>
                <c:pt idx="301">
                  <c:v>12.541666666666666</c:v>
                </c:pt>
                <c:pt idx="302">
                  <c:v>12.583333333333334</c:v>
                </c:pt>
                <c:pt idx="303">
                  <c:v>12.625</c:v>
                </c:pt>
                <c:pt idx="304">
                  <c:v>12.666666666666666</c:v>
                </c:pt>
                <c:pt idx="305">
                  <c:v>12.708333333333334</c:v>
                </c:pt>
                <c:pt idx="306">
                  <c:v>12.75</c:v>
                </c:pt>
                <c:pt idx="307">
                  <c:v>12.791666666666666</c:v>
                </c:pt>
                <c:pt idx="308">
                  <c:v>12.833333333333334</c:v>
                </c:pt>
                <c:pt idx="309">
                  <c:v>12.875</c:v>
                </c:pt>
                <c:pt idx="310">
                  <c:v>12.916666666666666</c:v>
                </c:pt>
                <c:pt idx="311">
                  <c:v>12.958333333333334</c:v>
                </c:pt>
                <c:pt idx="312">
                  <c:v>13</c:v>
                </c:pt>
                <c:pt idx="313">
                  <c:v>13.041666666666666</c:v>
                </c:pt>
                <c:pt idx="314">
                  <c:v>13.083333333333334</c:v>
                </c:pt>
                <c:pt idx="315">
                  <c:v>13.125</c:v>
                </c:pt>
                <c:pt idx="316">
                  <c:v>13.166666666666666</c:v>
                </c:pt>
                <c:pt idx="317">
                  <c:v>13.208333333333334</c:v>
                </c:pt>
                <c:pt idx="318">
                  <c:v>13.25</c:v>
                </c:pt>
                <c:pt idx="319">
                  <c:v>13.291666666666666</c:v>
                </c:pt>
                <c:pt idx="320">
                  <c:v>13.333333333333334</c:v>
                </c:pt>
                <c:pt idx="321">
                  <c:v>13.375</c:v>
                </c:pt>
                <c:pt idx="322">
                  <c:v>13.416666666666666</c:v>
                </c:pt>
                <c:pt idx="323">
                  <c:v>13.458333333333334</c:v>
                </c:pt>
                <c:pt idx="324">
                  <c:v>13.5</c:v>
                </c:pt>
                <c:pt idx="325">
                  <c:v>13.541666666666666</c:v>
                </c:pt>
                <c:pt idx="326">
                  <c:v>13.583333333333334</c:v>
                </c:pt>
                <c:pt idx="327">
                  <c:v>13.625</c:v>
                </c:pt>
                <c:pt idx="328">
                  <c:v>13.666666666666666</c:v>
                </c:pt>
                <c:pt idx="329">
                  <c:v>13.708333333333334</c:v>
                </c:pt>
                <c:pt idx="330">
                  <c:v>13.75</c:v>
                </c:pt>
                <c:pt idx="331">
                  <c:v>13.791666666666666</c:v>
                </c:pt>
                <c:pt idx="332">
                  <c:v>13.833333333333334</c:v>
                </c:pt>
                <c:pt idx="333">
                  <c:v>13.875</c:v>
                </c:pt>
                <c:pt idx="334">
                  <c:v>13.916666666666666</c:v>
                </c:pt>
                <c:pt idx="335">
                  <c:v>13.958333333333334</c:v>
                </c:pt>
                <c:pt idx="336">
                  <c:v>14</c:v>
                </c:pt>
                <c:pt idx="337">
                  <c:v>14.041666666666666</c:v>
                </c:pt>
                <c:pt idx="338">
                  <c:v>14.083333333333334</c:v>
                </c:pt>
                <c:pt idx="339">
                  <c:v>14.125</c:v>
                </c:pt>
                <c:pt idx="340">
                  <c:v>14.166666666666666</c:v>
                </c:pt>
                <c:pt idx="341">
                  <c:v>14.208333333333334</c:v>
                </c:pt>
                <c:pt idx="342">
                  <c:v>14.25</c:v>
                </c:pt>
                <c:pt idx="343">
                  <c:v>14.291666666666666</c:v>
                </c:pt>
                <c:pt idx="344">
                  <c:v>14.333333333333334</c:v>
                </c:pt>
                <c:pt idx="345">
                  <c:v>14.375</c:v>
                </c:pt>
                <c:pt idx="346">
                  <c:v>14.416666666666666</c:v>
                </c:pt>
                <c:pt idx="347">
                  <c:v>14.458333333333334</c:v>
                </c:pt>
                <c:pt idx="348">
                  <c:v>14.5</c:v>
                </c:pt>
                <c:pt idx="349">
                  <c:v>14.541666666666666</c:v>
                </c:pt>
                <c:pt idx="350">
                  <c:v>14.583333333333334</c:v>
                </c:pt>
                <c:pt idx="351">
                  <c:v>14.625</c:v>
                </c:pt>
                <c:pt idx="352">
                  <c:v>14.666666666666666</c:v>
                </c:pt>
                <c:pt idx="353">
                  <c:v>14.708333333333334</c:v>
                </c:pt>
                <c:pt idx="354">
                  <c:v>14.75</c:v>
                </c:pt>
                <c:pt idx="355">
                  <c:v>14.791666666666666</c:v>
                </c:pt>
                <c:pt idx="356">
                  <c:v>14.833333333333334</c:v>
                </c:pt>
                <c:pt idx="357">
                  <c:v>14.875</c:v>
                </c:pt>
                <c:pt idx="358">
                  <c:v>14.916666666666666</c:v>
                </c:pt>
                <c:pt idx="359">
                  <c:v>14.958333333333334</c:v>
                </c:pt>
                <c:pt idx="360">
                  <c:v>15</c:v>
                </c:pt>
                <c:pt idx="361">
                  <c:v>15.041666666666666</c:v>
                </c:pt>
                <c:pt idx="362">
                  <c:v>15.083333333333334</c:v>
                </c:pt>
                <c:pt idx="363">
                  <c:v>15.125</c:v>
                </c:pt>
                <c:pt idx="364">
                  <c:v>15.166666666666666</c:v>
                </c:pt>
                <c:pt idx="365">
                  <c:v>15.208333333333334</c:v>
                </c:pt>
                <c:pt idx="366">
                  <c:v>15.25</c:v>
                </c:pt>
                <c:pt idx="367">
                  <c:v>15.291666666666666</c:v>
                </c:pt>
                <c:pt idx="368">
                  <c:v>15.333333333333334</c:v>
                </c:pt>
                <c:pt idx="369">
                  <c:v>15.375</c:v>
                </c:pt>
                <c:pt idx="370">
                  <c:v>15.416666666666666</c:v>
                </c:pt>
                <c:pt idx="371">
                  <c:v>15.458333333333334</c:v>
                </c:pt>
                <c:pt idx="372">
                  <c:v>15.5</c:v>
                </c:pt>
                <c:pt idx="373">
                  <c:v>15.541666666666666</c:v>
                </c:pt>
                <c:pt idx="374">
                  <c:v>15.583333333333334</c:v>
                </c:pt>
                <c:pt idx="375">
                  <c:v>15.625</c:v>
                </c:pt>
                <c:pt idx="376">
                  <c:v>15.666666666666666</c:v>
                </c:pt>
                <c:pt idx="377">
                  <c:v>15.708333333333334</c:v>
                </c:pt>
                <c:pt idx="378">
                  <c:v>15.75</c:v>
                </c:pt>
                <c:pt idx="379">
                  <c:v>15.791666666666666</c:v>
                </c:pt>
                <c:pt idx="380">
                  <c:v>15.833333333333334</c:v>
                </c:pt>
                <c:pt idx="381">
                  <c:v>15.875</c:v>
                </c:pt>
                <c:pt idx="382">
                  <c:v>15.916666666666666</c:v>
                </c:pt>
                <c:pt idx="383">
                  <c:v>15.958333333333334</c:v>
                </c:pt>
                <c:pt idx="384">
                  <c:v>16</c:v>
                </c:pt>
                <c:pt idx="385">
                  <c:v>16.041666666666668</c:v>
                </c:pt>
                <c:pt idx="386">
                  <c:v>16.083333333333332</c:v>
                </c:pt>
                <c:pt idx="387">
                  <c:v>16.125</c:v>
                </c:pt>
                <c:pt idx="388">
                  <c:v>16.166666666666668</c:v>
                </c:pt>
                <c:pt idx="389">
                  <c:v>16.208333333333332</c:v>
                </c:pt>
                <c:pt idx="390">
                  <c:v>16.25</c:v>
                </c:pt>
                <c:pt idx="391">
                  <c:v>16.291666666666668</c:v>
                </c:pt>
                <c:pt idx="392">
                  <c:v>16.333333333333332</c:v>
                </c:pt>
                <c:pt idx="393">
                  <c:v>16.375</c:v>
                </c:pt>
                <c:pt idx="394">
                  <c:v>16.416666666666668</c:v>
                </c:pt>
                <c:pt idx="395">
                  <c:v>16.458333333333332</c:v>
                </c:pt>
                <c:pt idx="396">
                  <c:v>16.5</c:v>
                </c:pt>
                <c:pt idx="397">
                  <c:v>16.541666666666668</c:v>
                </c:pt>
                <c:pt idx="398">
                  <c:v>16.583333333333332</c:v>
                </c:pt>
                <c:pt idx="399">
                  <c:v>16.625</c:v>
                </c:pt>
                <c:pt idx="400">
                  <c:v>16.666666666666668</c:v>
                </c:pt>
                <c:pt idx="401">
                  <c:v>16.708333333333332</c:v>
                </c:pt>
                <c:pt idx="402">
                  <c:v>16.75</c:v>
                </c:pt>
                <c:pt idx="403">
                  <c:v>16.791666666666668</c:v>
                </c:pt>
                <c:pt idx="404">
                  <c:v>16.833333333333332</c:v>
                </c:pt>
                <c:pt idx="405">
                  <c:v>16.875</c:v>
                </c:pt>
                <c:pt idx="406">
                  <c:v>16.916666666666668</c:v>
                </c:pt>
                <c:pt idx="407">
                  <c:v>16.958333333333332</c:v>
                </c:pt>
                <c:pt idx="408">
                  <c:v>17</c:v>
                </c:pt>
                <c:pt idx="409">
                  <c:v>17.041666666666668</c:v>
                </c:pt>
                <c:pt idx="410">
                  <c:v>17.083333333333332</c:v>
                </c:pt>
                <c:pt idx="411">
                  <c:v>17.125</c:v>
                </c:pt>
                <c:pt idx="412">
                  <c:v>17.166666666666668</c:v>
                </c:pt>
                <c:pt idx="413">
                  <c:v>17.208333333333332</c:v>
                </c:pt>
                <c:pt idx="414">
                  <c:v>17.25</c:v>
                </c:pt>
                <c:pt idx="415">
                  <c:v>17.291666666666668</c:v>
                </c:pt>
                <c:pt idx="416">
                  <c:v>17.333333333333332</c:v>
                </c:pt>
                <c:pt idx="417">
                  <c:v>17.375</c:v>
                </c:pt>
                <c:pt idx="418">
                  <c:v>17.416666666666668</c:v>
                </c:pt>
                <c:pt idx="419">
                  <c:v>17.458333333333332</c:v>
                </c:pt>
                <c:pt idx="420">
                  <c:v>17.5</c:v>
                </c:pt>
                <c:pt idx="421">
                  <c:v>17.541666666666668</c:v>
                </c:pt>
                <c:pt idx="422">
                  <c:v>17.583333333333332</c:v>
                </c:pt>
                <c:pt idx="423">
                  <c:v>17.625</c:v>
                </c:pt>
                <c:pt idx="424">
                  <c:v>17.666666666666668</c:v>
                </c:pt>
                <c:pt idx="425">
                  <c:v>17.708333333333332</c:v>
                </c:pt>
                <c:pt idx="426">
                  <c:v>17.75</c:v>
                </c:pt>
                <c:pt idx="427">
                  <c:v>17.791666666666668</c:v>
                </c:pt>
                <c:pt idx="428">
                  <c:v>17.833333333333332</c:v>
                </c:pt>
                <c:pt idx="429">
                  <c:v>17.875</c:v>
                </c:pt>
                <c:pt idx="430">
                  <c:v>17.916666666666668</c:v>
                </c:pt>
                <c:pt idx="431">
                  <c:v>17.958333333333332</c:v>
                </c:pt>
                <c:pt idx="432">
                  <c:v>18</c:v>
                </c:pt>
                <c:pt idx="433">
                  <c:v>18.041666666666668</c:v>
                </c:pt>
                <c:pt idx="434">
                  <c:v>18.083333333333332</c:v>
                </c:pt>
                <c:pt idx="435">
                  <c:v>18.125</c:v>
                </c:pt>
                <c:pt idx="436">
                  <c:v>18.166666666666668</c:v>
                </c:pt>
                <c:pt idx="437">
                  <c:v>18.208333333333332</c:v>
                </c:pt>
                <c:pt idx="438">
                  <c:v>18.25</c:v>
                </c:pt>
                <c:pt idx="439">
                  <c:v>18.291666666666668</c:v>
                </c:pt>
                <c:pt idx="440">
                  <c:v>18.333333333333332</c:v>
                </c:pt>
                <c:pt idx="441">
                  <c:v>18.375</c:v>
                </c:pt>
                <c:pt idx="442">
                  <c:v>18.416666666666668</c:v>
                </c:pt>
                <c:pt idx="443">
                  <c:v>18.458333333333332</c:v>
                </c:pt>
                <c:pt idx="444">
                  <c:v>18.5</c:v>
                </c:pt>
                <c:pt idx="445">
                  <c:v>18.541666666666668</c:v>
                </c:pt>
                <c:pt idx="446">
                  <c:v>18.583333333333332</c:v>
                </c:pt>
                <c:pt idx="447">
                  <c:v>18.625</c:v>
                </c:pt>
                <c:pt idx="448">
                  <c:v>18.666666666666668</c:v>
                </c:pt>
                <c:pt idx="449">
                  <c:v>18.708333333333332</c:v>
                </c:pt>
                <c:pt idx="450">
                  <c:v>18.75</c:v>
                </c:pt>
                <c:pt idx="451">
                  <c:v>18.791666666666668</c:v>
                </c:pt>
                <c:pt idx="452">
                  <c:v>18.833333333333332</c:v>
                </c:pt>
                <c:pt idx="453">
                  <c:v>18.875</c:v>
                </c:pt>
                <c:pt idx="454">
                  <c:v>18.916666666666668</c:v>
                </c:pt>
                <c:pt idx="455">
                  <c:v>18.958333333333332</c:v>
                </c:pt>
                <c:pt idx="456">
                  <c:v>19</c:v>
                </c:pt>
                <c:pt idx="457">
                  <c:v>19.041666666666668</c:v>
                </c:pt>
                <c:pt idx="458">
                  <c:v>19.083333333333332</c:v>
                </c:pt>
                <c:pt idx="459">
                  <c:v>19.125</c:v>
                </c:pt>
                <c:pt idx="460">
                  <c:v>19.166666666666668</c:v>
                </c:pt>
                <c:pt idx="461">
                  <c:v>19.208333333333332</c:v>
                </c:pt>
                <c:pt idx="462">
                  <c:v>19.25</c:v>
                </c:pt>
                <c:pt idx="463">
                  <c:v>19.291666666666668</c:v>
                </c:pt>
                <c:pt idx="464">
                  <c:v>19.333333333333332</c:v>
                </c:pt>
                <c:pt idx="465">
                  <c:v>19.375</c:v>
                </c:pt>
                <c:pt idx="466">
                  <c:v>19.416666666666668</c:v>
                </c:pt>
                <c:pt idx="467">
                  <c:v>19.458333333333332</c:v>
                </c:pt>
                <c:pt idx="468">
                  <c:v>19.5</c:v>
                </c:pt>
                <c:pt idx="469">
                  <c:v>19.541666666666668</c:v>
                </c:pt>
                <c:pt idx="470">
                  <c:v>19.583333333333332</c:v>
                </c:pt>
                <c:pt idx="471">
                  <c:v>19.625</c:v>
                </c:pt>
                <c:pt idx="472">
                  <c:v>19.666666666666668</c:v>
                </c:pt>
                <c:pt idx="473">
                  <c:v>19.708333333333332</c:v>
                </c:pt>
                <c:pt idx="474">
                  <c:v>19.75</c:v>
                </c:pt>
                <c:pt idx="475">
                  <c:v>19.791666666666668</c:v>
                </c:pt>
                <c:pt idx="476">
                  <c:v>19.833333333333332</c:v>
                </c:pt>
                <c:pt idx="477">
                  <c:v>19.875</c:v>
                </c:pt>
                <c:pt idx="478">
                  <c:v>19.916666666666668</c:v>
                </c:pt>
                <c:pt idx="479">
                  <c:v>19.958333333333332</c:v>
                </c:pt>
                <c:pt idx="480">
                  <c:v>20</c:v>
                </c:pt>
                <c:pt idx="481">
                  <c:v>20.041666666666668</c:v>
                </c:pt>
                <c:pt idx="482">
                  <c:v>20.083333333333332</c:v>
                </c:pt>
                <c:pt idx="483">
                  <c:v>20.125</c:v>
                </c:pt>
                <c:pt idx="484">
                  <c:v>20.166666666666668</c:v>
                </c:pt>
                <c:pt idx="485">
                  <c:v>20.208333333333332</c:v>
                </c:pt>
                <c:pt idx="486">
                  <c:v>20.25</c:v>
                </c:pt>
                <c:pt idx="487">
                  <c:v>20.291666666666668</c:v>
                </c:pt>
                <c:pt idx="488">
                  <c:v>20.333333333333332</c:v>
                </c:pt>
                <c:pt idx="489">
                  <c:v>20.375</c:v>
                </c:pt>
                <c:pt idx="490">
                  <c:v>20.416666666666668</c:v>
                </c:pt>
                <c:pt idx="491">
                  <c:v>20.458333333333332</c:v>
                </c:pt>
                <c:pt idx="492">
                  <c:v>20.5</c:v>
                </c:pt>
                <c:pt idx="493">
                  <c:v>20.541666666666668</c:v>
                </c:pt>
                <c:pt idx="494">
                  <c:v>20.583333333333332</c:v>
                </c:pt>
                <c:pt idx="495">
                  <c:v>20.625</c:v>
                </c:pt>
                <c:pt idx="496">
                  <c:v>20.666666666666668</c:v>
                </c:pt>
                <c:pt idx="497">
                  <c:v>20.708333333333332</c:v>
                </c:pt>
                <c:pt idx="498">
                  <c:v>20.75</c:v>
                </c:pt>
                <c:pt idx="499">
                  <c:v>20.791666666666668</c:v>
                </c:pt>
                <c:pt idx="500">
                  <c:v>20.833333333333332</c:v>
                </c:pt>
                <c:pt idx="501">
                  <c:v>20.875</c:v>
                </c:pt>
                <c:pt idx="502">
                  <c:v>20.916666666666668</c:v>
                </c:pt>
                <c:pt idx="503">
                  <c:v>20.958333333333332</c:v>
                </c:pt>
                <c:pt idx="504">
                  <c:v>21</c:v>
                </c:pt>
                <c:pt idx="505">
                  <c:v>21.041666666666668</c:v>
                </c:pt>
                <c:pt idx="506">
                  <c:v>21.083333333333332</c:v>
                </c:pt>
                <c:pt idx="507">
                  <c:v>21.125</c:v>
                </c:pt>
                <c:pt idx="508">
                  <c:v>21.166666666666668</c:v>
                </c:pt>
                <c:pt idx="509">
                  <c:v>21.208333333333332</c:v>
                </c:pt>
                <c:pt idx="510">
                  <c:v>21.25</c:v>
                </c:pt>
                <c:pt idx="511">
                  <c:v>21.291666666666668</c:v>
                </c:pt>
                <c:pt idx="512">
                  <c:v>21.333333333333332</c:v>
                </c:pt>
                <c:pt idx="513">
                  <c:v>21.375</c:v>
                </c:pt>
                <c:pt idx="514">
                  <c:v>21.416666666666668</c:v>
                </c:pt>
                <c:pt idx="515">
                  <c:v>21.458333333333332</c:v>
                </c:pt>
                <c:pt idx="516">
                  <c:v>21.5</c:v>
                </c:pt>
                <c:pt idx="517">
                  <c:v>21.541666666666668</c:v>
                </c:pt>
                <c:pt idx="518">
                  <c:v>21.583333333333332</c:v>
                </c:pt>
                <c:pt idx="519">
                  <c:v>21.625</c:v>
                </c:pt>
                <c:pt idx="520">
                  <c:v>21.666666666666668</c:v>
                </c:pt>
                <c:pt idx="521">
                  <c:v>21.708333333333332</c:v>
                </c:pt>
                <c:pt idx="522">
                  <c:v>21.75</c:v>
                </c:pt>
                <c:pt idx="523">
                  <c:v>21.791666666666668</c:v>
                </c:pt>
                <c:pt idx="524">
                  <c:v>21.833333333333332</c:v>
                </c:pt>
                <c:pt idx="525">
                  <c:v>21.875</c:v>
                </c:pt>
                <c:pt idx="526">
                  <c:v>21.916666666666668</c:v>
                </c:pt>
                <c:pt idx="527">
                  <c:v>21.958333333333332</c:v>
                </c:pt>
                <c:pt idx="528">
                  <c:v>22</c:v>
                </c:pt>
                <c:pt idx="529">
                  <c:v>22.041666666666668</c:v>
                </c:pt>
                <c:pt idx="530">
                  <c:v>22.083333333333332</c:v>
                </c:pt>
                <c:pt idx="531">
                  <c:v>22.125</c:v>
                </c:pt>
                <c:pt idx="532">
                  <c:v>22.166666666666668</c:v>
                </c:pt>
                <c:pt idx="533">
                  <c:v>22.208333333333332</c:v>
                </c:pt>
                <c:pt idx="534">
                  <c:v>22.25</c:v>
                </c:pt>
                <c:pt idx="535">
                  <c:v>22.291666666666668</c:v>
                </c:pt>
                <c:pt idx="536">
                  <c:v>22.333333333333332</c:v>
                </c:pt>
                <c:pt idx="537">
                  <c:v>22.375</c:v>
                </c:pt>
                <c:pt idx="538">
                  <c:v>22.416666666666668</c:v>
                </c:pt>
                <c:pt idx="539">
                  <c:v>22.458333333333332</c:v>
                </c:pt>
                <c:pt idx="540">
                  <c:v>22.5</c:v>
                </c:pt>
                <c:pt idx="541">
                  <c:v>22.541666666666668</c:v>
                </c:pt>
                <c:pt idx="542">
                  <c:v>22.583333333333332</c:v>
                </c:pt>
                <c:pt idx="543">
                  <c:v>22.625</c:v>
                </c:pt>
                <c:pt idx="544">
                  <c:v>22.666666666666668</c:v>
                </c:pt>
                <c:pt idx="545">
                  <c:v>22.708333333333332</c:v>
                </c:pt>
                <c:pt idx="546">
                  <c:v>22.75</c:v>
                </c:pt>
                <c:pt idx="547">
                  <c:v>22.791666666666668</c:v>
                </c:pt>
                <c:pt idx="548">
                  <c:v>22.833333333333332</c:v>
                </c:pt>
                <c:pt idx="549">
                  <c:v>22.875</c:v>
                </c:pt>
                <c:pt idx="550">
                  <c:v>22.916666666666668</c:v>
                </c:pt>
                <c:pt idx="551">
                  <c:v>22.958333333333332</c:v>
                </c:pt>
                <c:pt idx="552">
                  <c:v>23</c:v>
                </c:pt>
                <c:pt idx="553">
                  <c:v>23.041666666666668</c:v>
                </c:pt>
                <c:pt idx="554">
                  <c:v>23.083333333333332</c:v>
                </c:pt>
                <c:pt idx="555">
                  <c:v>23.125</c:v>
                </c:pt>
                <c:pt idx="556">
                  <c:v>23.166666666666668</c:v>
                </c:pt>
                <c:pt idx="557">
                  <c:v>23.208333333333332</c:v>
                </c:pt>
                <c:pt idx="558">
                  <c:v>23.25</c:v>
                </c:pt>
                <c:pt idx="559">
                  <c:v>23.291666666666668</c:v>
                </c:pt>
                <c:pt idx="560">
                  <c:v>23.333333333333332</c:v>
                </c:pt>
                <c:pt idx="561">
                  <c:v>23.375</c:v>
                </c:pt>
                <c:pt idx="562">
                  <c:v>23.416666666666668</c:v>
                </c:pt>
                <c:pt idx="563">
                  <c:v>23.458333333333332</c:v>
                </c:pt>
                <c:pt idx="564">
                  <c:v>23.5</c:v>
                </c:pt>
                <c:pt idx="565">
                  <c:v>23.541666666666668</c:v>
                </c:pt>
                <c:pt idx="566">
                  <c:v>23.583333333333332</c:v>
                </c:pt>
                <c:pt idx="567">
                  <c:v>23.625</c:v>
                </c:pt>
                <c:pt idx="568">
                  <c:v>23.666666666666668</c:v>
                </c:pt>
                <c:pt idx="569">
                  <c:v>23.708333333333332</c:v>
                </c:pt>
                <c:pt idx="570">
                  <c:v>23.75</c:v>
                </c:pt>
                <c:pt idx="571">
                  <c:v>23.791666666666668</c:v>
                </c:pt>
                <c:pt idx="572">
                  <c:v>23.833333333333332</c:v>
                </c:pt>
                <c:pt idx="573">
                  <c:v>23.875</c:v>
                </c:pt>
                <c:pt idx="574">
                  <c:v>23.916666666666668</c:v>
                </c:pt>
                <c:pt idx="575">
                  <c:v>23.958333333333332</c:v>
                </c:pt>
                <c:pt idx="576">
                  <c:v>24</c:v>
                </c:pt>
                <c:pt idx="577">
                  <c:v>24.041666666666668</c:v>
                </c:pt>
                <c:pt idx="578">
                  <c:v>24.083333333333332</c:v>
                </c:pt>
                <c:pt idx="579">
                  <c:v>24.125</c:v>
                </c:pt>
                <c:pt idx="580">
                  <c:v>24.166666666666668</c:v>
                </c:pt>
                <c:pt idx="581">
                  <c:v>24.208333333333332</c:v>
                </c:pt>
                <c:pt idx="582">
                  <c:v>24.25</c:v>
                </c:pt>
                <c:pt idx="583">
                  <c:v>24.291666666666668</c:v>
                </c:pt>
                <c:pt idx="584">
                  <c:v>24.333333333333332</c:v>
                </c:pt>
                <c:pt idx="585">
                  <c:v>24.375</c:v>
                </c:pt>
                <c:pt idx="586">
                  <c:v>24.416666666666668</c:v>
                </c:pt>
                <c:pt idx="587">
                  <c:v>24.458333333333332</c:v>
                </c:pt>
                <c:pt idx="588">
                  <c:v>24.5</c:v>
                </c:pt>
                <c:pt idx="589">
                  <c:v>24.541666666666668</c:v>
                </c:pt>
                <c:pt idx="590">
                  <c:v>24.583333333333332</c:v>
                </c:pt>
                <c:pt idx="591">
                  <c:v>24.625</c:v>
                </c:pt>
                <c:pt idx="592">
                  <c:v>24.666666666666668</c:v>
                </c:pt>
                <c:pt idx="593">
                  <c:v>24.708333333333332</c:v>
                </c:pt>
                <c:pt idx="594">
                  <c:v>24.75</c:v>
                </c:pt>
                <c:pt idx="595">
                  <c:v>24.791666666666668</c:v>
                </c:pt>
                <c:pt idx="596">
                  <c:v>24.833333333333332</c:v>
                </c:pt>
                <c:pt idx="597">
                  <c:v>24.875</c:v>
                </c:pt>
                <c:pt idx="598">
                  <c:v>24.916666666666668</c:v>
                </c:pt>
                <c:pt idx="599">
                  <c:v>24.958333333333332</c:v>
                </c:pt>
                <c:pt idx="600">
                  <c:v>25</c:v>
                </c:pt>
                <c:pt idx="601">
                  <c:v>25.041666666666668</c:v>
                </c:pt>
                <c:pt idx="602">
                  <c:v>25.083333333333332</c:v>
                </c:pt>
                <c:pt idx="603">
                  <c:v>25.125</c:v>
                </c:pt>
                <c:pt idx="604">
                  <c:v>25.166666666666668</c:v>
                </c:pt>
                <c:pt idx="605">
                  <c:v>25.208333333333332</c:v>
                </c:pt>
                <c:pt idx="606">
                  <c:v>25.25</c:v>
                </c:pt>
                <c:pt idx="607">
                  <c:v>25.291666666666668</c:v>
                </c:pt>
                <c:pt idx="608">
                  <c:v>25.333333333333332</c:v>
                </c:pt>
                <c:pt idx="609">
                  <c:v>25.375</c:v>
                </c:pt>
                <c:pt idx="610">
                  <c:v>25.416666666666668</c:v>
                </c:pt>
                <c:pt idx="611">
                  <c:v>25.458333333333332</c:v>
                </c:pt>
                <c:pt idx="612">
                  <c:v>25.5</c:v>
                </c:pt>
                <c:pt idx="613">
                  <c:v>25.541666666666668</c:v>
                </c:pt>
                <c:pt idx="614">
                  <c:v>25.583333333333332</c:v>
                </c:pt>
                <c:pt idx="615">
                  <c:v>25.625</c:v>
                </c:pt>
                <c:pt idx="616">
                  <c:v>25.666666666666668</c:v>
                </c:pt>
                <c:pt idx="617">
                  <c:v>25.708333333333332</c:v>
                </c:pt>
                <c:pt idx="618">
                  <c:v>25.75</c:v>
                </c:pt>
                <c:pt idx="619">
                  <c:v>25.791666666666668</c:v>
                </c:pt>
                <c:pt idx="620">
                  <c:v>25.833333333333332</c:v>
                </c:pt>
                <c:pt idx="621">
                  <c:v>25.875</c:v>
                </c:pt>
                <c:pt idx="622">
                  <c:v>25.916666666666668</c:v>
                </c:pt>
                <c:pt idx="623">
                  <c:v>25.958333333333332</c:v>
                </c:pt>
                <c:pt idx="624">
                  <c:v>26</c:v>
                </c:pt>
                <c:pt idx="625">
                  <c:v>26.041666666666668</c:v>
                </c:pt>
                <c:pt idx="626">
                  <c:v>26.083333333333332</c:v>
                </c:pt>
                <c:pt idx="627">
                  <c:v>26.125</c:v>
                </c:pt>
                <c:pt idx="628">
                  <c:v>26.166666666666668</c:v>
                </c:pt>
                <c:pt idx="629">
                  <c:v>26.208333333333332</c:v>
                </c:pt>
                <c:pt idx="630">
                  <c:v>26.25</c:v>
                </c:pt>
                <c:pt idx="631">
                  <c:v>26.291666666666668</c:v>
                </c:pt>
                <c:pt idx="632">
                  <c:v>26.333333333333332</c:v>
                </c:pt>
                <c:pt idx="633">
                  <c:v>26.375</c:v>
                </c:pt>
                <c:pt idx="634">
                  <c:v>26.416666666666668</c:v>
                </c:pt>
                <c:pt idx="635">
                  <c:v>26.458333333333332</c:v>
                </c:pt>
                <c:pt idx="636">
                  <c:v>26.5</c:v>
                </c:pt>
                <c:pt idx="637">
                  <c:v>26.541666666666668</c:v>
                </c:pt>
                <c:pt idx="638">
                  <c:v>26.583333333333332</c:v>
                </c:pt>
                <c:pt idx="639">
                  <c:v>26.625</c:v>
                </c:pt>
                <c:pt idx="640">
                  <c:v>26.666666666666668</c:v>
                </c:pt>
                <c:pt idx="641">
                  <c:v>26.708333333333332</c:v>
                </c:pt>
                <c:pt idx="642">
                  <c:v>26.75</c:v>
                </c:pt>
                <c:pt idx="643">
                  <c:v>26.791666666666668</c:v>
                </c:pt>
                <c:pt idx="644">
                  <c:v>26.833333333333332</c:v>
                </c:pt>
                <c:pt idx="645">
                  <c:v>26.875</c:v>
                </c:pt>
                <c:pt idx="646">
                  <c:v>26.916666666666668</c:v>
                </c:pt>
                <c:pt idx="647">
                  <c:v>26.958333333333332</c:v>
                </c:pt>
                <c:pt idx="648">
                  <c:v>27</c:v>
                </c:pt>
                <c:pt idx="649">
                  <c:v>27.041666666666668</c:v>
                </c:pt>
                <c:pt idx="650">
                  <c:v>27.083333333333332</c:v>
                </c:pt>
                <c:pt idx="651">
                  <c:v>27.125</c:v>
                </c:pt>
                <c:pt idx="652">
                  <c:v>27.166666666666668</c:v>
                </c:pt>
                <c:pt idx="653">
                  <c:v>27.208333333333332</c:v>
                </c:pt>
                <c:pt idx="654">
                  <c:v>27.25</c:v>
                </c:pt>
                <c:pt idx="655">
                  <c:v>27.291666666666668</c:v>
                </c:pt>
                <c:pt idx="656">
                  <c:v>27.333333333333332</c:v>
                </c:pt>
                <c:pt idx="657">
                  <c:v>27.375</c:v>
                </c:pt>
                <c:pt idx="658">
                  <c:v>27.416666666666668</c:v>
                </c:pt>
                <c:pt idx="659">
                  <c:v>27.458333333333332</c:v>
                </c:pt>
                <c:pt idx="660">
                  <c:v>27.5</c:v>
                </c:pt>
                <c:pt idx="661">
                  <c:v>27.541666666666668</c:v>
                </c:pt>
                <c:pt idx="662">
                  <c:v>27.583333333333332</c:v>
                </c:pt>
                <c:pt idx="663">
                  <c:v>27.625</c:v>
                </c:pt>
                <c:pt idx="664">
                  <c:v>27.666666666666668</c:v>
                </c:pt>
                <c:pt idx="665">
                  <c:v>27.708333333333332</c:v>
                </c:pt>
                <c:pt idx="666">
                  <c:v>27.75</c:v>
                </c:pt>
                <c:pt idx="667">
                  <c:v>27.791666666666668</c:v>
                </c:pt>
                <c:pt idx="668">
                  <c:v>27.833333333333332</c:v>
                </c:pt>
                <c:pt idx="669">
                  <c:v>27.875</c:v>
                </c:pt>
                <c:pt idx="670">
                  <c:v>27.916666666666668</c:v>
                </c:pt>
              </c:numCache>
            </c:numRef>
          </c:xVal>
          <c:yVal>
            <c:numRef>
              <c:f>'p comp avg scre vs unscr'!$AJ$27:$AJ$698</c:f>
              <c:numCache>
                <c:formatCode>0.00</c:formatCode>
                <c:ptCount val="672"/>
                <c:pt idx="0">
                  <c:v>0</c:v>
                </c:pt>
                <c:pt idx="1">
                  <c:v>78.333333333333329</c:v>
                </c:pt>
                <c:pt idx="2">
                  <c:v>98</c:v>
                </c:pt>
                <c:pt idx="3">
                  <c:v>108.33333333333333</c:v>
                </c:pt>
                <c:pt idx="4">
                  <c:v>115.66666666666667</c:v>
                </c:pt>
                <c:pt idx="5">
                  <c:v>119</c:v>
                </c:pt>
                <c:pt idx="6">
                  <c:v>122.33333333333333</c:v>
                </c:pt>
                <c:pt idx="7">
                  <c:v>123.66666666666667</c:v>
                </c:pt>
                <c:pt idx="8">
                  <c:v>125</c:v>
                </c:pt>
                <c:pt idx="9">
                  <c:v>125</c:v>
                </c:pt>
                <c:pt idx="10">
                  <c:v>125.33333333333333</c:v>
                </c:pt>
                <c:pt idx="11">
                  <c:v>125.33333333333333</c:v>
                </c:pt>
                <c:pt idx="12">
                  <c:v>126.33333333333333</c:v>
                </c:pt>
                <c:pt idx="13">
                  <c:v>126</c:v>
                </c:pt>
                <c:pt idx="14">
                  <c:v>125.66666666666667</c:v>
                </c:pt>
                <c:pt idx="15">
                  <c:v>126</c:v>
                </c:pt>
                <c:pt idx="16">
                  <c:v>126.33333333333333</c:v>
                </c:pt>
                <c:pt idx="17">
                  <c:v>132</c:v>
                </c:pt>
                <c:pt idx="18">
                  <c:v>134.33333333333334</c:v>
                </c:pt>
                <c:pt idx="19">
                  <c:v>137</c:v>
                </c:pt>
                <c:pt idx="20">
                  <c:v>139.33333333333334</c:v>
                </c:pt>
                <c:pt idx="21">
                  <c:v>139</c:v>
                </c:pt>
                <c:pt idx="22">
                  <c:v>140</c:v>
                </c:pt>
                <c:pt idx="23">
                  <c:v>142</c:v>
                </c:pt>
                <c:pt idx="24">
                  <c:v>143.33333333333334</c:v>
                </c:pt>
                <c:pt idx="25">
                  <c:v>144.66666666666666</c:v>
                </c:pt>
                <c:pt idx="26">
                  <c:v>128.66666666666666</c:v>
                </c:pt>
                <c:pt idx="27">
                  <c:v>135.66666666666666</c:v>
                </c:pt>
                <c:pt idx="28">
                  <c:v>141.33333333333334</c:v>
                </c:pt>
                <c:pt idx="29">
                  <c:v>144.33333333333334</c:v>
                </c:pt>
                <c:pt idx="30">
                  <c:v>146</c:v>
                </c:pt>
                <c:pt idx="31">
                  <c:v>147.66666666666666</c:v>
                </c:pt>
                <c:pt idx="32">
                  <c:v>149</c:v>
                </c:pt>
                <c:pt idx="33">
                  <c:v>149.66666666666666</c:v>
                </c:pt>
                <c:pt idx="34">
                  <c:v>150</c:v>
                </c:pt>
                <c:pt idx="35">
                  <c:v>151</c:v>
                </c:pt>
                <c:pt idx="36">
                  <c:v>151</c:v>
                </c:pt>
                <c:pt idx="37">
                  <c:v>151.33333333333334</c:v>
                </c:pt>
                <c:pt idx="38">
                  <c:v>151</c:v>
                </c:pt>
                <c:pt idx="39">
                  <c:v>151.66666666666666</c:v>
                </c:pt>
                <c:pt idx="40">
                  <c:v>151.66666666666666</c:v>
                </c:pt>
                <c:pt idx="41">
                  <c:v>151</c:v>
                </c:pt>
                <c:pt idx="42">
                  <c:v>150.33333333333334</c:v>
                </c:pt>
                <c:pt idx="43">
                  <c:v>150.33333333333334</c:v>
                </c:pt>
                <c:pt idx="44">
                  <c:v>151.66666666666666</c:v>
                </c:pt>
                <c:pt idx="45">
                  <c:v>151</c:v>
                </c:pt>
                <c:pt idx="46">
                  <c:v>154.33333333333334</c:v>
                </c:pt>
                <c:pt idx="47">
                  <c:v>156.66666666666666</c:v>
                </c:pt>
                <c:pt idx="48">
                  <c:v>153.33333333333334</c:v>
                </c:pt>
                <c:pt idx="49">
                  <c:v>154.66666666666666</c:v>
                </c:pt>
                <c:pt idx="50">
                  <c:v>156</c:v>
                </c:pt>
                <c:pt idx="51">
                  <c:v>158.66666666666666</c:v>
                </c:pt>
                <c:pt idx="52">
                  <c:v>160.33333333333334</c:v>
                </c:pt>
                <c:pt idx="53">
                  <c:v>162.33333333333334</c:v>
                </c:pt>
                <c:pt idx="54">
                  <c:v>163.33333333333334</c:v>
                </c:pt>
                <c:pt idx="55">
                  <c:v>163.66666666666666</c:v>
                </c:pt>
                <c:pt idx="56">
                  <c:v>164.33333333333334</c:v>
                </c:pt>
                <c:pt idx="57">
                  <c:v>164.33333333333334</c:v>
                </c:pt>
                <c:pt idx="58">
                  <c:v>165</c:v>
                </c:pt>
                <c:pt idx="59">
                  <c:v>165.33333333333334</c:v>
                </c:pt>
                <c:pt idx="60">
                  <c:v>165</c:v>
                </c:pt>
                <c:pt idx="61">
                  <c:v>166.33333333333334</c:v>
                </c:pt>
                <c:pt idx="62">
                  <c:v>166.33333333333334</c:v>
                </c:pt>
                <c:pt idx="63">
                  <c:v>166.33333333333334</c:v>
                </c:pt>
                <c:pt idx="64">
                  <c:v>166.66666666666666</c:v>
                </c:pt>
                <c:pt idx="65">
                  <c:v>166.66666666666666</c:v>
                </c:pt>
                <c:pt idx="66">
                  <c:v>167</c:v>
                </c:pt>
                <c:pt idx="67">
                  <c:v>168</c:v>
                </c:pt>
                <c:pt idx="68">
                  <c:v>167.66666666666666</c:v>
                </c:pt>
                <c:pt idx="69">
                  <c:v>167.66666666666666</c:v>
                </c:pt>
                <c:pt idx="70">
                  <c:v>168.33333333333334</c:v>
                </c:pt>
                <c:pt idx="71">
                  <c:v>169</c:v>
                </c:pt>
                <c:pt idx="72">
                  <c:v>170.33333333333334</c:v>
                </c:pt>
                <c:pt idx="73">
                  <c:v>171.66666666666666</c:v>
                </c:pt>
                <c:pt idx="74">
                  <c:v>174</c:v>
                </c:pt>
                <c:pt idx="75">
                  <c:v>174.66666666666666</c:v>
                </c:pt>
                <c:pt idx="76">
                  <c:v>174.33333333333334</c:v>
                </c:pt>
                <c:pt idx="77">
                  <c:v>174</c:v>
                </c:pt>
                <c:pt idx="78">
                  <c:v>173.33333333333334</c:v>
                </c:pt>
                <c:pt idx="79">
                  <c:v>172.33333333333334</c:v>
                </c:pt>
                <c:pt idx="80">
                  <c:v>172.66666666666666</c:v>
                </c:pt>
                <c:pt idx="81">
                  <c:v>172.66666666666666</c:v>
                </c:pt>
                <c:pt idx="82">
                  <c:v>172.33333333333334</c:v>
                </c:pt>
                <c:pt idx="83">
                  <c:v>172.33333333333334</c:v>
                </c:pt>
                <c:pt idx="84">
                  <c:v>172.33333333333334</c:v>
                </c:pt>
                <c:pt idx="85">
                  <c:v>172.33333333333334</c:v>
                </c:pt>
                <c:pt idx="86">
                  <c:v>172.33333333333334</c:v>
                </c:pt>
                <c:pt idx="87">
                  <c:v>172.33333333333334</c:v>
                </c:pt>
                <c:pt idx="88">
                  <c:v>172.66666666666666</c:v>
                </c:pt>
                <c:pt idx="89">
                  <c:v>172.33333333333334</c:v>
                </c:pt>
                <c:pt idx="90">
                  <c:v>166.33333333333334</c:v>
                </c:pt>
                <c:pt idx="91">
                  <c:v>161</c:v>
                </c:pt>
                <c:pt idx="92">
                  <c:v>158</c:v>
                </c:pt>
                <c:pt idx="93">
                  <c:v>159.66666666666666</c:v>
                </c:pt>
                <c:pt idx="94">
                  <c:v>159.66666666666666</c:v>
                </c:pt>
                <c:pt idx="95">
                  <c:v>158.33333333333334</c:v>
                </c:pt>
                <c:pt idx="96">
                  <c:v>162.33333333333334</c:v>
                </c:pt>
                <c:pt idx="97">
                  <c:v>167.66666666666666</c:v>
                </c:pt>
                <c:pt idx="98">
                  <c:v>172</c:v>
                </c:pt>
                <c:pt idx="99">
                  <c:v>175</c:v>
                </c:pt>
                <c:pt idx="100">
                  <c:v>178</c:v>
                </c:pt>
                <c:pt idx="101">
                  <c:v>180</c:v>
                </c:pt>
                <c:pt idx="102">
                  <c:v>181.33333333333334</c:v>
                </c:pt>
                <c:pt idx="103">
                  <c:v>182</c:v>
                </c:pt>
                <c:pt idx="104">
                  <c:v>182.66666666666666</c:v>
                </c:pt>
                <c:pt idx="105">
                  <c:v>184</c:v>
                </c:pt>
                <c:pt idx="106">
                  <c:v>184.33333333333334</c:v>
                </c:pt>
                <c:pt idx="107">
                  <c:v>185</c:v>
                </c:pt>
                <c:pt idx="108">
                  <c:v>185.66666666666666</c:v>
                </c:pt>
                <c:pt idx="109">
                  <c:v>186.33333333333334</c:v>
                </c:pt>
                <c:pt idx="110">
                  <c:v>186.33333333333334</c:v>
                </c:pt>
                <c:pt idx="111">
                  <c:v>187</c:v>
                </c:pt>
                <c:pt idx="112">
                  <c:v>188</c:v>
                </c:pt>
                <c:pt idx="113">
                  <c:v>189</c:v>
                </c:pt>
                <c:pt idx="114">
                  <c:v>190</c:v>
                </c:pt>
                <c:pt idx="115">
                  <c:v>191</c:v>
                </c:pt>
                <c:pt idx="116">
                  <c:v>193</c:v>
                </c:pt>
                <c:pt idx="117">
                  <c:v>195</c:v>
                </c:pt>
                <c:pt idx="118">
                  <c:v>196.66666666666666</c:v>
                </c:pt>
                <c:pt idx="119">
                  <c:v>198</c:v>
                </c:pt>
                <c:pt idx="120">
                  <c:v>200.66666666666666</c:v>
                </c:pt>
                <c:pt idx="121">
                  <c:v>203.33333333333334</c:v>
                </c:pt>
                <c:pt idx="122">
                  <c:v>206.33333333333334</c:v>
                </c:pt>
                <c:pt idx="123">
                  <c:v>208.33333333333334</c:v>
                </c:pt>
                <c:pt idx="124">
                  <c:v>210</c:v>
                </c:pt>
                <c:pt idx="125">
                  <c:v>210.33333333333334</c:v>
                </c:pt>
                <c:pt idx="126">
                  <c:v>211</c:v>
                </c:pt>
                <c:pt idx="127">
                  <c:v>212</c:v>
                </c:pt>
                <c:pt idx="128">
                  <c:v>212.66666666666666</c:v>
                </c:pt>
                <c:pt idx="129">
                  <c:v>212.66666666666666</c:v>
                </c:pt>
                <c:pt idx="130">
                  <c:v>213</c:v>
                </c:pt>
                <c:pt idx="131">
                  <c:v>214</c:v>
                </c:pt>
                <c:pt idx="132">
                  <c:v>214.66666666666666</c:v>
                </c:pt>
                <c:pt idx="133">
                  <c:v>215.33333333333334</c:v>
                </c:pt>
                <c:pt idx="134">
                  <c:v>216</c:v>
                </c:pt>
                <c:pt idx="135">
                  <c:v>217</c:v>
                </c:pt>
                <c:pt idx="136">
                  <c:v>218</c:v>
                </c:pt>
                <c:pt idx="137">
                  <c:v>219</c:v>
                </c:pt>
                <c:pt idx="138">
                  <c:v>220.33333333333334</c:v>
                </c:pt>
                <c:pt idx="139">
                  <c:v>222.66666666666666</c:v>
                </c:pt>
                <c:pt idx="140">
                  <c:v>224.66666666666666</c:v>
                </c:pt>
                <c:pt idx="141">
                  <c:v>227</c:v>
                </c:pt>
                <c:pt idx="142">
                  <c:v>230</c:v>
                </c:pt>
                <c:pt idx="143">
                  <c:v>233</c:v>
                </c:pt>
                <c:pt idx="144">
                  <c:v>236.33333333333334</c:v>
                </c:pt>
                <c:pt idx="145">
                  <c:v>239.33333333333334</c:v>
                </c:pt>
                <c:pt idx="146">
                  <c:v>243</c:v>
                </c:pt>
                <c:pt idx="147">
                  <c:v>245.33333333333334</c:v>
                </c:pt>
                <c:pt idx="148">
                  <c:v>246.33333333333334</c:v>
                </c:pt>
                <c:pt idx="149">
                  <c:v>247</c:v>
                </c:pt>
                <c:pt idx="150">
                  <c:v>247.66666666666666</c:v>
                </c:pt>
                <c:pt idx="151">
                  <c:v>248</c:v>
                </c:pt>
                <c:pt idx="152">
                  <c:v>249</c:v>
                </c:pt>
                <c:pt idx="153">
                  <c:v>249.33333333333334</c:v>
                </c:pt>
                <c:pt idx="154">
                  <c:v>250</c:v>
                </c:pt>
                <c:pt idx="155">
                  <c:v>250.66666666666666</c:v>
                </c:pt>
                <c:pt idx="156">
                  <c:v>251.66666666666666</c:v>
                </c:pt>
                <c:pt idx="157">
                  <c:v>252.66666666666666</c:v>
                </c:pt>
                <c:pt idx="158">
                  <c:v>253.66666666666666</c:v>
                </c:pt>
                <c:pt idx="159">
                  <c:v>254.66666666666666</c:v>
                </c:pt>
                <c:pt idx="160">
                  <c:v>255.66666666666666</c:v>
                </c:pt>
                <c:pt idx="161">
                  <c:v>257.33333333333331</c:v>
                </c:pt>
                <c:pt idx="162">
                  <c:v>258.33333333333331</c:v>
                </c:pt>
                <c:pt idx="163">
                  <c:v>260.33333333333331</c:v>
                </c:pt>
                <c:pt idx="164">
                  <c:v>263.33333333333331</c:v>
                </c:pt>
                <c:pt idx="165">
                  <c:v>267</c:v>
                </c:pt>
                <c:pt idx="166">
                  <c:v>269.66666666666669</c:v>
                </c:pt>
                <c:pt idx="167">
                  <c:v>272.66666666666669</c:v>
                </c:pt>
                <c:pt idx="168">
                  <c:v>276</c:v>
                </c:pt>
                <c:pt idx="169">
                  <c:v>272.66666666666669</c:v>
                </c:pt>
                <c:pt idx="170">
                  <c:v>276</c:v>
                </c:pt>
                <c:pt idx="171">
                  <c:v>280.66666666666669</c:v>
                </c:pt>
                <c:pt idx="172">
                  <c:v>285</c:v>
                </c:pt>
                <c:pt idx="173">
                  <c:v>287.66666666666669</c:v>
                </c:pt>
                <c:pt idx="174">
                  <c:v>290.33333333333331</c:v>
                </c:pt>
                <c:pt idx="175">
                  <c:v>291.66666666666669</c:v>
                </c:pt>
                <c:pt idx="176">
                  <c:v>293.66666666666669</c:v>
                </c:pt>
                <c:pt idx="177">
                  <c:v>295.66666666666669</c:v>
                </c:pt>
                <c:pt idx="178">
                  <c:v>296.66666666666669</c:v>
                </c:pt>
                <c:pt idx="179">
                  <c:v>297.66666666666669</c:v>
                </c:pt>
                <c:pt idx="180">
                  <c:v>298.66666666666669</c:v>
                </c:pt>
                <c:pt idx="181">
                  <c:v>299.66666666666669</c:v>
                </c:pt>
                <c:pt idx="182">
                  <c:v>301.33333333333331</c:v>
                </c:pt>
                <c:pt idx="183">
                  <c:v>302</c:v>
                </c:pt>
                <c:pt idx="184">
                  <c:v>303</c:v>
                </c:pt>
                <c:pt idx="185">
                  <c:v>304.66666666666669</c:v>
                </c:pt>
                <c:pt idx="186">
                  <c:v>305.66666666666669</c:v>
                </c:pt>
                <c:pt idx="187">
                  <c:v>303</c:v>
                </c:pt>
                <c:pt idx="188">
                  <c:v>308.66666666666669</c:v>
                </c:pt>
                <c:pt idx="189">
                  <c:v>314.33333333333331</c:v>
                </c:pt>
                <c:pt idx="190">
                  <c:v>319</c:v>
                </c:pt>
                <c:pt idx="191">
                  <c:v>337</c:v>
                </c:pt>
                <c:pt idx="192">
                  <c:v>344.33333333333331</c:v>
                </c:pt>
                <c:pt idx="193">
                  <c:v>349.33333333333331</c:v>
                </c:pt>
                <c:pt idx="194">
                  <c:v>354</c:v>
                </c:pt>
                <c:pt idx="195">
                  <c:v>357.33333333333331</c:v>
                </c:pt>
                <c:pt idx="196">
                  <c:v>360.33333333333331</c:v>
                </c:pt>
                <c:pt idx="197">
                  <c:v>362.66666666666669</c:v>
                </c:pt>
                <c:pt idx="198">
                  <c:v>365</c:v>
                </c:pt>
                <c:pt idx="199">
                  <c:v>367.66666666666669</c:v>
                </c:pt>
                <c:pt idx="200">
                  <c:v>370.66666666666669</c:v>
                </c:pt>
                <c:pt idx="201">
                  <c:v>373.33333333333331</c:v>
                </c:pt>
                <c:pt idx="202">
                  <c:v>375.66666666666669</c:v>
                </c:pt>
                <c:pt idx="203">
                  <c:v>377.66666666666669</c:v>
                </c:pt>
                <c:pt idx="204">
                  <c:v>380</c:v>
                </c:pt>
                <c:pt idx="205">
                  <c:v>381.66666666666669</c:v>
                </c:pt>
                <c:pt idx="206">
                  <c:v>383</c:v>
                </c:pt>
                <c:pt idx="207">
                  <c:v>384.33333333333331</c:v>
                </c:pt>
                <c:pt idx="208">
                  <c:v>385.33333333333331</c:v>
                </c:pt>
                <c:pt idx="209">
                  <c:v>387.33333333333331</c:v>
                </c:pt>
                <c:pt idx="210">
                  <c:v>388.66666666666669</c:v>
                </c:pt>
                <c:pt idx="211">
                  <c:v>384</c:v>
                </c:pt>
                <c:pt idx="212">
                  <c:v>388</c:v>
                </c:pt>
                <c:pt idx="213">
                  <c:v>393.66666666666669</c:v>
                </c:pt>
                <c:pt idx="214">
                  <c:v>397.33333333333331</c:v>
                </c:pt>
                <c:pt idx="215">
                  <c:v>401.66666666666669</c:v>
                </c:pt>
                <c:pt idx="216">
                  <c:v>405.33333333333331</c:v>
                </c:pt>
                <c:pt idx="217">
                  <c:v>409.66666666666669</c:v>
                </c:pt>
                <c:pt idx="218">
                  <c:v>412.33333333333331</c:v>
                </c:pt>
                <c:pt idx="219">
                  <c:v>414</c:v>
                </c:pt>
                <c:pt idx="220">
                  <c:v>415</c:v>
                </c:pt>
                <c:pt idx="221">
                  <c:v>417</c:v>
                </c:pt>
                <c:pt idx="222">
                  <c:v>417</c:v>
                </c:pt>
                <c:pt idx="223">
                  <c:v>418.66666666666669</c:v>
                </c:pt>
                <c:pt idx="224">
                  <c:v>419.33333333333331</c:v>
                </c:pt>
                <c:pt idx="225">
                  <c:v>419.33333333333331</c:v>
                </c:pt>
                <c:pt idx="226">
                  <c:v>420.66666666666669</c:v>
                </c:pt>
                <c:pt idx="227">
                  <c:v>421.66666666666669</c:v>
                </c:pt>
                <c:pt idx="228">
                  <c:v>422.33333333333331</c:v>
                </c:pt>
                <c:pt idx="229">
                  <c:v>423.33333333333331</c:v>
                </c:pt>
                <c:pt idx="230">
                  <c:v>423.66666666666669</c:v>
                </c:pt>
                <c:pt idx="231">
                  <c:v>425</c:v>
                </c:pt>
                <c:pt idx="232">
                  <c:v>425.66666666666669</c:v>
                </c:pt>
                <c:pt idx="233">
                  <c:v>425.66666666666669</c:v>
                </c:pt>
                <c:pt idx="234">
                  <c:v>427.66666666666669</c:v>
                </c:pt>
                <c:pt idx="235">
                  <c:v>428</c:v>
                </c:pt>
                <c:pt idx="236">
                  <c:v>423.66666666666669</c:v>
                </c:pt>
                <c:pt idx="237">
                  <c:v>426.33333333333331</c:v>
                </c:pt>
                <c:pt idx="238">
                  <c:v>429</c:v>
                </c:pt>
                <c:pt idx="239">
                  <c:v>432.33333333333331</c:v>
                </c:pt>
                <c:pt idx="240">
                  <c:v>434.66666666666669</c:v>
                </c:pt>
                <c:pt idx="241">
                  <c:v>437</c:v>
                </c:pt>
                <c:pt idx="242">
                  <c:v>439.33333333333331</c:v>
                </c:pt>
                <c:pt idx="243">
                  <c:v>440</c:v>
                </c:pt>
                <c:pt idx="244">
                  <c:v>440.66666666666669</c:v>
                </c:pt>
                <c:pt idx="245">
                  <c:v>441.66666666666669</c:v>
                </c:pt>
                <c:pt idx="246">
                  <c:v>442</c:v>
                </c:pt>
                <c:pt idx="247">
                  <c:v>442.33333333333331</c:v>
                </c:pt>
                <c:pt idx="248">
                  <c:v>442.66666666666669</c:v>
                </c:pt>
                <c:pt idx="249">
                  <c:v>442</c:v>
                </c:pt>
                <c:pt idx="250">
                  <c:v>442</c:v>
                </c:pt>
                <c:pt idx="251">
                  <c:v>441.66666666666669</c:v>
                </c:pt>
                <c:pt idx="252">
                  <c:v>441</c:v>
                </c:pt>
                <c:pt idx="253">
                  <c:v>441.33333333333331</c:v>
                </c:pt>
                <c:pt idx="254">
                  <c:v>441.33333333333331</c:v>
                </c:pt>
                <c:pt idx="255">
                  <c:v>441</c:v>
                </c:pt>
                <c:pt idx="256">
                  <c:v>442.66666666666669</c:v>
                </c:pt>
                <c:pt idx="257">
                  <c:v>443.33333333333331</c:v>
                </c:pt>
                <c:pt idx="258">
                  <c:v>445.66666666666669</c:v>
                </c:pt>
                <c:pt idx="259">
                  <c:v>448</c:v>
                </c:pt>
                <c:pt idx="260">
                  <c:v>449.66666666666669</c:v>
                </c:pt>
                <c:pt idx="261">
                  <c:v>452.33333333333331</c:v>
                </c:pt>
                <c:pt idx="262">
                  <c:v>466.33333333333331</c:v>
                </c:pt>
                <c:pt idx="263">
                  <c:v>468.66666666666669</c:v>
                </c:pt>
                <c:pt idx="264">
                  <c:v>470.33333333333331</c:v>
                </c:pt>
                <c:pt idx="265">
                  <c:v>471</c:v>
                </c:pt>
                <c:pt idx="266">
                  <c:v>474.33333333333331</c:v>
                </c:pt>
                <c:pt idx="267">
                  <c:v>476</c:v>
                </c:pt>
                <c:pt idx="268">
                  <c:v>480</c:v>
                </c:pt>
                <c:pt idx="269">
                  <c:v>484</c:v>
                </c:pt>
                <c:pt idx="270">
                  <c:v>487.33333333333331</c:v>
                </c:pt>
                <c:pt idx="271">
                  <c:v>489.33333333333331</c:v>
                </c:pt>
                <c:pt idx="272">
                  <c:v>491.66666666666669</c:v>
                </c:pt>
                <c:pt idx="273">
                  <c:v>493.66666666666669</c:v>
                </c:pt>
                <c:pt idx="274">
                  <c:v>495</c:v>
                </c:pt>
                <c:pt idx="275">
                  <c:v>497</c:v>
                </c:pt>
                <c:pt idx="276">
                  <c:v>498.33333333333331</c:v>
                </c:pt>
                <c:pt idx="277">
                  <c:v>499.33333333333331</c:v>
                </c:pt>
                <c:pt idx="278">
                  <c:v>501</c:v>
                </c:pt>
                <c:pt idx="279">
                  <c:v>502.33333333333331</c:v>
                </c:pt>
                <c:pt idx="280">
                  <c:v>504.33333333333331</c:v>
                </c:pt>
                <c:pt idx="281">
                  <c:v>506</c:v>
                </c:pt>
                <c:pt idx="282">
                  <c:v>507.66666666666669</c:v>
                </c:pt>
                <c:pt idx="283">
                  <c:v>509</c:v>
                </c:pt>
                <c:pt idx="284">
                  <c:v>511</c:v>
                </c:pt>
                <c:pt idx="285">
                  <c:v>513</c:v>
                </c:pt>
                <c:pt idx="286">
                  <c:v>515.66666666666663</c:v>
                </c:pt>
                <c:pt idx="287">
                  <c:v>512</c:v>
                </c:pt>
                <c:pt idx="288">
                  <c:v>515</c:v>
                </c:pt>
                <c:pt idx="289">
                  <c:v>518.33333333333337</c:v>
                </c:pt>
                <c:pt idx="290">
                  <c:v>522.66666666666663</c:v>
                </c:pt>
                <c:pt idx="291">
                  <c:v>525</c:v>
                </c:pt>
                <c:pt idx="292">
                  <c:v>526.66666666666663</c:v>
                </c:pt>
                <c:pt idx="293">
                  <c:v>528.33333333333337</c:v>
                </c:pt>
                <c:pt idx="294">
                  <c:v>529</c:v>
                </c:pt>
                <c:pt idx="295">
                  <c:v>529.66666666666663</c:v>
                </c:pt>
                <c:pt idx="296">
                  <c:v>530.33333333333337</c:v>
                </c:pt>
                <c:pt idx="297">
                  <c:v>531</c:v>
                </c:pt>
                <c:pt idx="298">
                  <c:v>532</c:v>
                </c:pt>
                <c:pt idx="299">
                  <c:v>533</c:v>
                </c:pt>
                <c:pt idx="300">
                  <c:v>534</c:v>
                </c:pt>
                <c:pt idx="301">
                  <c:v>535</c:v>
                </c:pt>
                <c:pt idx="302">
                  <c:v>535.33333333333337</c:v>
                </c:pt>
                <c:pt idx="303">
                  <c:v>537</c:v>
                </c:pt>
                <c:pt idx="304">
                  <c:v>538</c:v>
                </c:pt>
                <c:pt idx="305">
                  <c:v>539.33333333333337</c:v>
                </c:pt>
                <c:pt idx="306">
                  <c:v>540.66666666666663</c:v>
                </c:pt>
                <c:pt idx="307">
                  <c:v>542.66666666666663</c:v>
                </c:pt>
                <c:pt idx="308">
                  <c:v>544.66666666666663</c:v>
                </c:pt>
                <c:pt idx="309">
                  <c:v>547</c:v>
                </c:pt>
                <c:pt idx="310">
                  <c:v>549.66666666666663</c:v>
                </c:pt>
                <c:pt idx="311">
                  <c:v>549.33333333333337</c:v>
                </c:pt>
                <c:pt idx="312">
                  <c:v>554.66666666666663</c:v>
                </c:pt>
                <c:pt idx="313">
                  <c:v>559.66666666666663</c:v>
                </c:pt>
                <c:pt idx="314">
                  <c:v>564.33333333333337</c:v>
                </c:pt>
                <c:pt idx="315">
                  <c:v>568</c:v>
                </c:pt>
                <c:pt idx="316">
                  <c:v>570.33333333333337</c:v>
                </c:pt>
                <c:pt idx="317">
                  <c:v>571.66666666666663</c:v>
                </c:pt>
                <c:pt idx="318">
                  <c:v>572.66666666666663</c:v>
                </c:pt>
                <c:pt idx="319">
                  <c:v>573.66666666666663</c:v>
                </c:pt>
                <c:pt idx="320">
                  <c:v>574.66666666666663</c:v>
                </c:pt>
                <c:pt idx="321">
                  <c:v>575.33333333333337</c:v>
                </c:pt>
                <c:pt idx="322">
                  <c:v>576.33333333333337</c:v>
                </c:pt>
                <c:pt idx="323">
                  <c:v>577.33333333333337</c:v>
                </c:pt>
                <c:pt idx="324">
                  <c:v>578.33333333333337</c:v>
                </c:pt>
                <c:pt idx="325">
                  <c:v>579.33333333333337</c:v>
                </c:pt>
                <c:pt idx="326">
                  <c:v>580.66666666666663</c:v>
                </c:pt>
                <c:pt idx="327">
                  <c:v>581.66666666666663</c:v>
                </c:pt>
                <c:pt idx="328">
                  <c:v>583</c:v>
                </c:pt>
                <c:pt idx="329">
                  <c:v>584.33333333333337</c:v>
                </c:pt>
                <c:pt idx="330">
                  <c:v>585.66666666666663</c:v>
                </c:pt>
                <c:pt idx="331">
                  <c:v>587.66666666666663</c:v>
                </c:pt>
                <c:pt idx="332">
                  <c:v>589</c:v>
                </c:pt>
                <c:pt idx="333">
                  <c:v>592</c:v>
                </c:pt>
                <c:pt idx="334">
                  <c:v>591.33333333333337</c:v>
                </c:pt>
                <c:pt idx="335">
                  <c:v>598.66666666666663</c:v>
                </c:pt>
                <c:pt idx="336">
                  <c:v>579</c:v>
                </c:pt>
                <c:pt idx="337">
                  <c:v>585</c:v>
                </c:pt>
                <c:pt idx="338">
                  <c:v>594.66666666666663</c:v>
                </c:pt>
                <c:pt idx="339">
                  <c:v>604</c:v>
                </c:pt>
                <c:pt idx="340">
                  <c:v>610.66666666666663</c:v>
                </c:pt>
                <c:pt idx="341">
                  <c:v>616.33333333333337</c:v>
                </c:pt>
                <c:pt idx="342">
                  <c:v>620.66666666666663</c:v>
                </c:pt>
                <c:pt idx="343">
                  <c:v>623</c:v>
                </c:pt>
                <c:pt idx="344">
                  <c:v>625.66666666666663</c:v>
                </c:pt>
                <c:pt idx="345">
                  <c:v>628</c:v>
                </c:pt>
                <c:pt idx="346">
                  <c:v>629.33333333333337</c:v>
                </c:pt>
                <c:pt idx="347">
                  <c:v>631.66666666666663</c:v>
                </c:pt>
                <c:pt idx="348">
                  <c:v>633</c:v>
                </c:pt>
                <c:pt idx="349">
                  <c:v>634.33333333333337</c:v>
                </c:pt>
                <c:pt idx="350">
                  <c:v>635.66666666666663</c:v>
                </c:pt>
                <c:pt idx="351">
                  <c:v>637.33333333333337</c:v>
                </c:pt>
                <c:pt idx="352">
                  <c:v>638.66666666666663</c:v>
                </c:pt>
                <c:pt idx="353">
                  <c:v>640.33333333333337</c:v>
                </c:pt>
                <c:pt idx="354">
                  <c:v>636</c:v>
                </c:pt>
                <c:pt idx="355">
                  <c:v>641.66666666666663</c:v>
                </c:pt>
                <c:pt idx="356">
                  <c:v>647.66666666666663</c:v>
                </c:pt>
                <c:pt idx="357">
                  <c:v>651</c:v>
                </c:pt>
                <c:pt idx="358">
                  <c:v>629.33333333333337</c:v>
                </c:pt>
                <c:pt idx="359">
                  <c:v>641</c:v>
                </c:pt>
                <c:pt idx="360">
                  <c:v>646</c:v>
                </c:pt>
                <c:pt idx="361">
                  <c:v>650.66666666666663</c:v>
                </c:pt>
                <c:pt idx="362">
                  <c:v>652.66666666666663</c:v>
                </c:pt>
                <c:pt idx="363">
                  <c:v>654.66666666666663</c:v>
                </c:pt>
                <c:pt idx="364">
                  <c:v>657.66666666666663</c:v>
                </c:pt>
                <c:pt idx="365">
                  <c:v>661</c:v>
                </c:pt>
                <c:pt idx="366">
                  <c:v>663</c:v>
                </c:pt>
                <c:pt idx="367">
                  <c:v>664</c:v>
                </c:pt>
                <c:pt idx="368">
                  <c:v>666</c:v>
                </c:pt>
                <c:pt idx="369">
                  <c:v>667</c:v>
                </c:pt>
                <c:pt idx="370">
                  <c:v>668</c:v>
                </c:pt>
                <c:pt idx="371">
                  <c:v>669.33333333333337</c:v>
                </c:pt>
                <c:pt idx="372">
                  <c:v>670.33333333333337</c:v>
                </c:pt>
                <c:pt idx="373">
                  <c:v>671.33333333333337</c:v>
                </c:pt>
                <c:pt idx="374">
                  <c:v>672.66666666666663</c:v>
                </c:pt>
                <c:pt idx="375">
                  <c:v>673.33333333333337</c:v>
                </c:pt>
                <c:pt idx="376">
                  <c:v>675</c:v>
                </c:pt>
                <c:pt idx="377">
                  <c:v>676.33333333333337</c:v>
                </c:pt>
                <c:pt idx="378">
                  <c:v>677.66666666666663</c:v>
                </c:pt>
                <c:pt idx="379">
                  <c:v>680</c:v>
                </c:pt>
                <c:pt idx="380">
                  <c:v>682.33333333333337</c:v>
                </c:pt>
                <c:pt idx="381">
                  <c:v>685</c:v>
                </c:pt>
                <c:pt idx="382">
                  <c:v>688.33333333333337</c:v>
                </c:pt>
                <c:pt idx="383">
                  <c:v>692</c:v>
                </c:pt>
                <c:pt idx="384">
                  <c:v>698.33333333333337</c:v>
                </c:pt>
                <c:pt idx="385">
                  <c:v>704.33333333333337</c:v>
                </c:pt>
                <c:pt idx="386">
                  <c:v>708.66666666666663</c:v>
                </c:pt>
                <c:pt idx="387">
                  <c:v>711</c:v>
                </c:pt>
                <c:pt idx="388">
                  <c:v>711</c:v>
                </c:pt>
                <c:pt idx="389">
                  <c:v>711.33333333333337</c:v>
                </c:pt>
                <c:pt idx="390">
                  <c:v>712.33333333333337</c:v>
                </c:pt>
                <c:pt idx="391">
                  <c:v>712.66666666666663</c:v>
                </c:pt>
                <c:pt idx="392">
                  <c:v>713.66666666666663</c:v>
                </c:pt>
                <c:pt idx="393">
                  <c:v>714.33333333333337</c:v>
                </c:pt>
                <c:pt idx="394">
                  <c:v>714.66666666666663</c:v>
                </c:pt>
                <c:pt idx="395">
                  <c:v>716</c:v>
                </c:pt>
                <c:pt idx="396">
                  <c:v>717</c:v>
                </c:pt>
                <c:pt idx="397">
                  <c:v>717.33333333333337</c:v>
                </c:pt>
                <c:pt idx="398">
                  <c:v>718.33333333333337</c:v>
                </c:pt>
                <c:pt idx="399">
                  <c:v>720</c:v>
                </c:pt>
                <c:pt idx="400">
                  <c:v>721</c:v>
                </c:pt>
                <c:pt idx="401">
                  <c:v>722.33333333333337</c:v>
                </c:pt>
                <c:pt idx="402">
                  <c:v>721</c:v>
                </c:pt>
                <c:pt idx="403">
                  <c:v>721.33333333333337</c:v>
                </c:pt>
                <c:pt idx="404">
                  <c:v>722.66666666666663</c:v>
                </c:pt>
                <c:pt idx="405">
                  <c:v>724.33333333333337</c:v>
                </c:pt>
                <c:pt idx="406">
                  <c:v>726.33333333333337</c:v>
                </c:pt>
                <c:pt idx="407">
                  <c:v>728.33333333333337</c:v>
                </c:pt>
                <c:pt idx="408">
                  <c:v>725</c:v>
                </c:pt>
                <c:pt idx="409">
                  <c:v>726.66666666666663</c:v>
                </c:pt>
                <c:pt idx="410">
                  <c:v>729.66666666666663</c:v>
                </c:pt>
                <c:pt idx="411">
                  <c:v>734.33333333333337</c:v>
                </c:pt>
                <c:pt idx="412">
                  <c:v>738</c:v>
                </c:pt>
                <c:pt idx="413">
                  <c:v>740.33333333333337</c:v>
                </c:pt>
                <c:pt idx="414">
                  <c:v>742.66666666666663</c:v>
                </c:pt>
                <c:pt idx="415">
                  <c:v>744.33333333333337</c:v>
                </c:pt>
                <c:pt idx="416">
                  <c:v>745.33333333333337</c:v>
                </c:pt>
                <c:pt idx="417">
                  <c:v>747</c:v>
                </c:pt>
                <c:pt idx="418">
                  <c:v>747.66666666666663</c:v>
                </c:pt>
                <c:pt idx="419">
                  <c:v>749</c:v>
                </c:pt>
                <c:pt idx="420">
                  <c:v>750</c:v>
                </c:pt>
                <c:pt idx="421">
                  <c:v>751.33333333333337</c:v>
                </c:pt>
                <c:pt idx="422">
                  <c:v>752.33333333333337</c:v>
                </c:pt>
                <c:pt idx="423">
                  <c:v>753.33333333333337</c:v>
                </c:pt>
                <c:pt idx="424">
                  <c:v>754</c:v>
                </c:pt>
                <c:pt idx="425">
                  <c:v>755.66666666666663</c:v>
                </c:pt>
                <c:pt idx="426">
                  <c:v>757.33333333333337</c:v>
                </c:pt>
                <c:pt idx="427">
                  <c:v>759</c:v>
                </c:pt>
                <c:pt idx="428">
                  <c:v>760.66666666666663</c:v>
                </c:pt>
                <c:pt idx="429">
                  <c:v>763.66666666666663</c:v>
                </c:pt>
                <c:pt idx="430">
                  <c:v>767.33333333333337</c:v>
                </c:pt>
                <c:pt idx="431">
                  <c:v>801</c:v>
                </c:pt>
                <c:pt idx="432">
                  <c:v>819</c:v>
                </c:pt>
                <c:pt idx="433">
                  <c:v>824</c:v>
                </c:pt>
                <c:pt idx="434">
                  <c:v>828</c:v>
                </c:pt>
                <c:pt idx="435">
                  <c:v>831</c:v>
                </c:pt>
                <c:pt idx="436">
                  <c:v>834</c:v>
                </c:pt>
                <c:pt idx="437">
                  <c:v>836</c:v>
                </c:pt>
                <c:pt idx="438">
                  <c:v>838</c:v>
                </c:pt>
                <c:pt idx="439">
                  <c:v>840.33333333333337</c:v>
                </c:pt>
                <c:pt idx="440">
                  <c:v>841.33333333333337</c:v>
                </c:pt>
                <c:pt idx="441">
                  <c:v>843</c:v>
                </c:pt>
                <c:pt idx="442">
                  <c:v>844.66666666666663</c:v>
                </c:pt>
                <c:pt idx="443">
                  <c:v>845.66666666666663</c:v>
                </c:pt>
                <c:pt idx="444">
                  <c:v>847</c:v>
                </c:pt>
                <c:pt idx="445">
                  <c:v>847.66666666666663</c:v>
                </c:pt>
                <c:pt idx="446">
                  <c:v>848.33333333333337</c:v>
                </c:pt>
                <c:pt idx="447">
                  <c:v>849.66666666666663</c:v>
                </c:pt>
                <c:pt idx="448">
                  <c:v>850.33333333333337</c:v>
                </c:pt>
                <c:pt idx="449">
                  <c:v>851.33333333333337</c:v>
                </c:pt>
                <c:pt idx="450">
                  <c:v>852.66666666666663</c:v>
                </c:pt>
                <c:pt idx="451">
                  <c:v>853.66666666666663</c:v>
                </c:pt>
                <c:pt idx="452">
                  <c:v>855.66666666666663</c:v>
                </c:pt>
                <c:pt idx="453">
                  <c:v>857.66666666666663</c:v>
                </c:pt>
                <c:pt idx="454">
                  <c:v>859.33333333333337</c:v>
                </c:pt>
                <c:pt idx="455">
                  <c:v>862.33333333333337</c:v>
                </c:pt>
                <c:pt idx="456">
                  <c:v>864.66666666666663</c:v>
                </c:pt>
                <c:pt idx="457">
                  <c:v>867.66666666666663</c:v>
                </c:pt>
                <c:pt idx="458">
                  <c:v>870.33333333333337</c:v>
                </c:pt>
                <c:pt idx="459">
                  <c:v>872</c:v>
                </c:pt>
                <c:pt idx="460">
                  <c:v>873.66666666666663</c:v>
                </c:pt>
                <c:pt idx="461">
                  <c:v>875</c:v>
                </c:pt>
                <c:pt idx="462">
                  <c:v>875.66666666666663</c:v>
                </c:pt>
                <c:pt idx="463">
                  <c:v>877</c:v>
                </c:pt>
                <c:pt idx="464">
                  <c:v>877.66666666666663</c:v>
                </c:pt>
                <c:pt idx="465">
                  <c:v>878</c:v>
                </c:pt>
                <c:pt idx="466">
                  <c:v>879.33333333333337</c:v>
                </c:pt>
                <c:pt idx="467">
                  <c:v>880.33333333333337</c:v>
                </c:pt>
                <c:pt idx="468">
                  <c:v>880.66666666666663</c:v>
                </c:pt>
                <c:pt idx="469">
                  <c:v>881.66666666666663</c:v>
                </c:pt>
                <c:pt idx="470">
                  <c:v>883</c:v>
                </c:pt>
                <c:pt idx="471">
                  <c:v>883.66666666666663</c:v>
                </c:pt>
                <c:pt idx="472">
                  <c:v>884.33333333333337</c:v>
                </c:pt>
                <c:pt idx="473">
                  <c:v>885.33333333333337</c:v>
                </c:pt>
                <c:pt idx="474">
                  <c:v>887</c:v>
                </c:pt>
                <c:pt idx="475">
                  <c:v>888.33333333333337</c:v>
                </c:pt>
                <c:pt idx="476">
                  <c:v>890.33333333333337</c:v>
                </c:pt>
                <c:pt idx="477">
                  <c:v>893</c:v>
                </c:pt>
                <c:pt idx="478">
                  <c:v>895.33333333333337</c:v>
                </c:pt>
                <c:pt idx="479">
                  <c:v>898</c:v>
                </c:pt>
                <c:pt idx="480">
                  <c:v>901.33333333333337</c:v>
                </c:pt>
                <c:pt idx="481">
                  <c:v>905</c:v>
                </c:pt>
                <c:pt idx="482">
                  <c:v>907.66666666666663</c:v>
                </c:pt>
                <c:pt idx="483">
                  <c:v>910.33333333333337</c:v>
                </c:pt>
                <c:pt idx="484">
                  <c:v>912.33333333333337</c:v>
                </c:pt>
                <c:pt idx="485">
                  <c:v>914.66666666666663</c:v>
                </c:pt>
                <c:pt idx="486">
                  <c:v>916.66666666666663</c:v>
                </c:pt>
                <c:pt idx="487">
                  <c:v>918</c:v>
                </c:pt>
                <c:pt idx="488">
                  <c:v>919.33333333333337</c:v>
                </c:pt>
                <c:pt idx="489">
                  <c:v>920</c:v>
                </c:pt>
                <c:pt idx="490">
                  <c:v>921.66666666666663</c:v>
                </c:pt>
                <c:pt idx="491">
                  <c:v>923</c:v>
                </c:pt>
                <c:pt idx="492">
                  <c:v>923.66666666666663</c:v>
                </c:pt>
                <c:pt idx="493">
                  <c:v>925.33333333333337</c:v>
                </c:pt>
                <c:pt idx="494">
                  <c:v>927</c:v>
                </c:pt>
                <c:pt idx="495">
                  <c:v>928</c:v>
                </c:pt>
                <c:pt idx="496">
                  <c:v>929.33333333333337</c:v>
                </c:pt>
                <c:pt idx="497">
                  <c:v>931</c:v>
                </c:pt>
                <c:pt idx="498">
                  <c:v>933</c:v>
                </c:pt>
                <c:pt idx="499">
                  <c:v>936.33333333333337</c:v>
                </c:pt>
                <c:pt idx="500">
                  <c:v>938.33333333333337</c:v>
                </c:pt>
                <c:pt idx="501">
                  <c:v>940</c:v>
                </c:pt>
                <c:pt idx="502">
                  <c:v>942.33333333333337</c:v>
                </c:pt>
                <c:pt idx="503">
                  <c:v>945</c:v>
                </c:pt>
                <c:pt idx="504">
                  <c:v>969</c:v>
                </c:pt>
                <c:pt idx="505">
                  <c:v>983</c:v>
                </c:pt>
                <c:pt idx="506">
                  <c:v>988.33333333333337</c:v>
                </c:pt>
                <c:pt idx="507">
                  <c:v>993</c:v>
                </c:pt>
                <c:pt idx="508">
                  <c:v>996</c:v>
                </c:pt>
                <c:pt idx="509">
                  <c:v>998.66666666666663</c:v>
                </c:pt>
                <c:pt idx="510">
                  <c:v>1001.3333333333334</c:v>
                </c:pt>
                <c:pt idx="511">
                  <c:v>1003.3333333333334</c:v>
                </c:pt>
                <c:pt idx="512">
                  <c:v>1005.3333333333334</c:v>
                </c:pt>
                <c:pt idx="513">
                  <c:v>1007.3333333333334</c:v>
                </c:pt>
                <c:pt idx="514">
                  <c:v>1009</c:v>
                </c:pt>
                <c:pt idx="515">
                  <c:v>1010.6666666666666</c:v>
                </c:pt>
                <c:pt idx="516">
                  <c:v>1012.3333333333334</c:v>
                </c:pt>
                <c:pt idx="517">
                  <c:v>1013.3333333333334</c:v>
                </c:pt>
                <c:pt idx="518">
                  <c:v>1014.6666666666666</c:v>
                </c:pt>
                <c:pt idx="519">
                  <c:v>1015.6666666666666</c:v>
                </c:pt>
                <c:pt idx="520">
                  <c:v>1017</c:v>
                </c:pt>
                <c:pt idx="521">
                  <c:v>1018.6666666666666</c:v>
                </c:pt>
                <c:pt idx="522">
                  <c:v>1019.6666666666666</c:v>
                </c:pt>
                <c:pt idx="523">
                  <c:v>1021.6666666666666</c:v>
                </c:pt>
                <c:pt idx="524">
                  <c:v>1022.3333333333334</c:v>
                </c:pt>
                <c:pt idx="525">
                  <c:v>1024</c:v>
                </c:pt>
                <c:pt idx="526">
                  <c:v>1026.3333333333333</c:v>
                </c:pt>
                <c:pt idx="527">
                  <c:v>1029.3333333333333</c:v>
                </c:pt>
                <c:pt idx="528">
                  <c:v>1032</c:v>
                </c:pt>
                <c:pt idx="529">
                  <c:v>1035</c:v>
                </c:pt>
                <c:pt idx="530">
                  <c:v>1037.3333333333333</c:v>
                </c:pt>
                <c:pt idx="531">
                  <c:v>1039.3333333333333</c:v>
                </c:pt>
                <c:pt idx="532">
                  <c:v>1041</c:v>
                </c:pt>
                <c:pt idx="533">
                  <c:v>1042.6666666666667</c:v>
                </c:pt>
                <c:pt idx="534">
                  <c:v>1044.3333333333333</c:v>
                </c:pt>
                <c:pt idx="535">
                  <c:v>1045.3333333333333</c:v>
                </c:pt>
                <c:pt idx="536">
                  <c:v>1046</c:v>
                </c:pt>
                <c:pt idx="537">
                  <c:v>1047.3333333333333</c:v>
                </c:pt>
                <c:pt idx="538">
                  <c:v>1048.3333333333333</c:v>
                </c:pt>
                <c:pt idx="539">
                  <c:v>1049.6666666666667</c:v>
                </c:pt>
                <c:pt idx="540">
                  <c:v>1051</c:v>
                </c:pt>
                <c:pt idx="541">
                  <c:v>1052</c:v>
                </c:pt>
                <c:pt idx="542">
                  <c:v>1052.6666666666667</c:v>
                </c:pt>
                <c:pt idx="543">
                  <c:v>1054.3333333333333</c:v>
                </c:pt>
                <c:pt idx="544">
                  <c:v>1055.3333333333333</c:v>
                </c:pt>
                <c:pt idx="545">
                  <c:v>1056.6666666666667</c:v>
                </c:pt>
                <c:pt idx="546">
                  <c:v>1058.6666666666667</c:v>
                </c:pt>
                <c:pt idx="547">
                  <c:v>1060.3333333333333</c:v>
                </c:pt>
                <c:pt idx="548">
                  <c:v>1062</c:v>
                </c:pt>
                <c:pt idx="549">
                  <c:v>1064.3333333333333</c:v>
                </c:pt>
                <c:pt idx="550">
                  <c:v>1066.3333333333333</c:v>
                </c:pt>
                <c:pt idx="551">
                  <c:v>1068.3333333333333</c:v>
                </c:pt>
                <c:pt idx="552">
                  <c:v>1070</c:v>
                </c:pt>
                <c:pt idx="553">
                  <c:v>1072.6666666666667</c:v>
                </c:pt>
                <c:pt idx="554">
                  <c:v>1074.6666666666667</c:v>
                </c:pt>
                <c:pt idx="555">
                  <c:v>1077</c:v>
                </c:pt>
                <c:pt idx="556">
                  <c:v>1079.3333333333333</c:v>
                </c:pt>
                <c:pt idx="557">
                  <c:v>1081</c:v>
                </c:pt>
                <c:pt idx="558">
                  <c:v>1082.3333333333333</c:v>
                </c:pt>
                <c:pt idx="559">
                  <c:v>1083.6666666666667</c:v>
                </c:pt>
                <c:pt idx="560">
                  <c:v>1085.3333333333333</c:v>
                </c:pt>
                <c:pt idx="561">
                  <c:v>1087</c:v>
                </c:pt>
                <c:pt idx="562">
                  <c:v>1088</c:v>
                </c:pt>
                <c:pt idx="563">
                  <c:v>1089</c:v>
                </c:pt>
                <c:pt idx="564">
                  <c:v>1090.6666666666667</c:v>
                </c:pt>
                <c:pt idx="565">
                  <c:v>1092.3333333333333</c:v>
                </c:pt>
                <c:pt idx="566">
                  <c:v>1093</c:v>
                </c:pt>
                <c:pt idx="567">
                  <c:v>1094.6666666666667</c:v>
                </c:pt>
                <c:pt idx="568">
                  <c:v>1096</c:v>
                </c:pt>
                <c:pt idx="569">
                  <c:v>1097.6666666666667</c:v>
                </c:pt>
                <c:pt idx="570">
                  <c:v>1099.3333333333333</c:v>
                </c:pt>
                <c:pt idx="571">
                  <c:v>1101.6666666666667</c:v>
                </c:pt>
                <c:pt idx="572">
                  <c:v>1103.6666666666667</c:v>
                </c:pt>
                <c:pt idx="573">
                  <c:v>1106.6666666666667</c:v>
                </c:pt>
                <c:pt idx="574">
                  <c:v>1108.6666666666667</c:v>
                </c:pt>
                <c:pt idx="575">
                  <c:v>1111.6666666666667</c:v>
                </c:pt>
                <c:pt idx="576">
                  <c:v>1114.6666666666667</c:v>
                </c:pt>
                <c:pt idx="577">
                  <c:v>1117.6666666666667</c:v>
                </c:pt>
                <c:pt idx="578">
                  <c:v>1121.3333333333333</c:v>
                </c:pt>
                <c:pt idx="579">
                  <c:v>1123.3333333333333</c:v>
                </c:pt>
                <c:pt idx="580">
                  <c:v>1125.3333333333333</c:v>
                </c:pt>
                <c:pt idx="581">
                  <c:v>1127</c:v>
                </c:pt>
                <c:pt idx="582">
                  <c:v>1128.3333333333333</c:v>
                </c:pt>
                <c:pt idx="583">
                  <c:v>1129.6666666666667</c:v>
                </c:pt>
                <c:pt idx="584">
                  <c:v>1131</c:v>
                </c:pt>
                <c:pt idx="585">
                  <c:v>1132.6666666666667</c:v>
                </c:pt>
                <c:pt idx="586">
                  <c:v>1134.3333333333333</c:v>
                </c:pt>
                <c:pt idx="587">
                  <c:v>1135.6666666666667</c:v>
                </c:pt>
                <c:pt idx="588">
                  <c:v>1136.6666666666667</c:v>
                </c:pt>
                <c:pt idx="589">
                  <c:v>1138.6666666666667</c:v>
                </c:pt>
                <c:pt idx="590">
                  <c:v>1140.3333333333333</c:v>
                </c:pt>
                <c:pt idx="591">
                  <c:v>1141.6666666666667</c:v>
                </c:pt>
                <c:pt idx="592">
                  <c:v>1142.6666666666667</c:v>
                </c:pt>
                <c:pt idx="593">
                  <c:v>1144</c:v>
                </c:pt>
                <c:pt idx="594">
                  <c:v>1146.3333333333333</c:v>
                </c:pt>
                <c:pt idx="595">
                  <c:v>1148.3333333333333</c:v>
                </c:pt>
                <c:pt idx="596">
                  <c:v>1150.3333333333333</c:v>
                </c:pt>
                <c:pt idx="597">
                  <c:v>1152.3333333333333</c:v>
                </c:pt>
                <c:pt idx="598">
                  <c:v>1182</c:v>
                </c:pt>
                <c:pt idx="599">
                  <c:v>1199.6666666666667</c:v>
                </c:pt>
                <c:pt idx="600">
                  <c:v>1208.3333333333333</c:v>
                </c:pt>
                <c:pt idx="601">
                  <c:v>1213.3333333333333</c:v>
                </c:pt>
                <c:pt idx="602">
                  <c:v>1217</c:v>
                </c:pt>
                <c:pt idx="603">
                  <c:v>1219.6666666666667</c:v>
                </c:pt>
                <c:pt idx="604">
                  <c:v>1221.3333333333333</c:v>
                </c:pt>
                <c:pt idx="605">
                  <c:v>1223.3333333333333</c:v>
                </c:pt>
                <c:pt idx="606">
                  <c:v>1224.3333333333333</c:v>
                </c:pt>
                <c:pt idx="607">
                  <c:v>1225</c:v>
                </c:pt>
                <c:pt idx="608">
                  <c:v>1226.6666666666667</c:v>
                </c:pt>
                <c:pt idx="609">
                  <c:v>1227.6666666666667</c:v>
                </c:pt>
                <c:pt idx="610">
                  <c:v>1228.3333333333333</c:v>
                </c:pt>
                <c:pt idx="611">
                  <c:v>1230.3333333333333</c:v>
                </c:pt>
                <c:pt idx="612">
                  <c:v>1231.3333333333333</c:v>
                </c:pt>
                <c:pt idx="613">
                  <c:v>1233</c:v>
                </c:pt>
                <c:pt idx="614">
                  <c:v>1234.3333333333333</c:v>
                </c:pt>
                <c:pt idx="615">
                  <c:v>1235.6666666666667</c:v>
                </c:pt>
                <c:pt idx="616">
                  <c:v>1237.3333333333333</c:v>
                </c:pt>
                <c:pt idx="617">
                  <c:v>1239.3333333333333</c:v>
                </c:pt>
                <c:pt idx="618">
                  <c:v>1240.6666666666667</c:v>
                </c:pt>
                <c:pt idx="619">
                  <c:v>1243</c:v>
                </c:pt>
                <c:pt idx="620">
                  <c:v>1244.6666666666667</c:v>
                </c:pt>
                <c:pt idx="621">
                  <c:v>1246.3333333333333</c:v>
                </c:pt>
                <c:pt idx="622">
                  <c:v>1249</c:v>
                </c:pt>
                <c:pt idx="623">
                  <c:v>1251.3333333333333</c:v>
                </c:pt>
                <c:pt idx="624">
                  <c:v>1253.6666666666667</c:v>
                </c:pt>
                <c:pt idx="625">
                  <c:v>1255.6666666666667</c:v>
                </c:pt>
                <c:pt idx="626">
                  <c:v>1258.3333333333333</c:v>
                </c:pt>
                <c:pt idx="627">
                  <c:v>1260.6666666666667</c:v>
                </c:pt>
                <c:pt idx="628">
                  <c:v>1262</c:v>
                </c:pt>
                <c:pt idx="629">
                  <c:v>1264</c:v>
                </c:pt>
                <c:pt idx="630">
                  <c:v>1265.3333333333333</c:v>
                </c:pt>
                <c:pt idx="631">
                  <c:v>1266.6666666666667</c:v>
                </c:pt>
                <c:pt idx="632">
                  <c:v>1268.6666666666667</c:v>
                </c:pt>
                <c:pt idx="633">
                  <c:v>1270</c:v>
                </c:pt>
                <c:pt idx="634">
                  <c:v>1271.6666666666667</c:v>
                </c:pt>
                <c:pt idx="635">
                  <c:v>1273.3333333333333</c:v>
                </c:pt>
                <c:pt idx="636">
                  <c:v>1275</c:v>
                </c:pt>
                <c:pt idx="637">
                  <c:v>1276.3333333333333</c:v>
                </c:pt>
                <c:pt idx="638">
                  <c:v>1278.3333333333333</c:v>
                </c:pt>
                <c:pt idx="639">
                  <c:v>1279.6666666666667</c:v>
                </c:pt>
                <c:pt idx="640">
                  <c:v>1281.3333333333333</c:v>
                </c:pt>
                <c:pt idx="641">
                  <c:v>1283.3333333333333</c:v>
                </c:pt>
                <c:pt idx="642">
                  <c:v>1284.6666666666667</c:v>
                </c:pt>
                <c:pt idx="643">
                  <c:v>1286.6666666666667</c:v>
                </c:pt>
                <c:pt idx="644">
                  <c:v>1288.6666666666667</c:v>
                </c:pt>
                <c:pt idx="645">
                  <c:v>1290.3333333333333</c:v>
                </c:pt>
                <c:pt idx="646">
                  <c:v>1292.6666666666667</c:v>
                </c:pt>
                <c:pt idx="647">
                  <c:v>1304.3333333333333</c:v>
                </c:pt>
                <c:pt idx="648">
                  <c:v>1305.6666666666667</c:v>
                </c:pt>
                <c:pt idx="649">
                  <c:v>1308.6666666666667</c:v>
                </c:pt>
                <c:pt idx="650">
                  <c:v>1312</c:v>
                </c:pt>
                <c:pt idx="651">
                  <c:v>1314.6666666666667</c:v>
                </c:pt>
                <c:pt idx="652">
                  <c:v>1317</c:v>
                </c:pt>
                <c:pt idx="653">
                  <c:v>1319</c:v>
                </c:pt>
                <c:pt idx="654">
                  <c:v>1320.3333333333333</c:v>
                </c:pt>
                <c:pt idx="655">
                  <c:v>1322.3333333333333</c:v>
                </c:pt>
                <c:pt idx="656">
                  <c:v>1324</c:v>
                </c:pt>
                <c:pt idx="657">
                  <c:v>1325.6666666666667</c:v>
                </c:pt>
                <c:pt idx="658">
                  <c:v>1327.3333333333333</c:v>
                </c:pt>
                <c:pt idx="659">
                  <c:v>1328.6666666666667</c:v>
                </c:pt>
                <c:pt idx="660">
                  <c:v>1330.6666666666667</c:v>
                </c:pt>
                <c:pt idx="661">
                  <c:v>1331.6666666666667</c:v>
                </c:pt>
                <c:pt idx="662">
                  <c:v>1333.3333333333333</c:v>
                </c:pt>
                <c:pt idx="663">
                  <c:v>1335.3333333333333</c:v>
                </c:pt>
                <c:pt idx="664">
                  <c:v>1336.6666666666667</c:v>
                </c:pt>
                <c:pt idx="665">
                  <c:v>1339</c:v>
                </c:pt>
                <c:pt idx="666">
                  <c:v>1340.6666666666667</c:v>
                </c:pt>
                <c:pt idx="667">
                  <c:v>1342.6666666666667</c:v>
                </c:pt>
                <c:pt idx="668">
                  <c:v>1345.3333333333333</c:v>
                </c:pt>
                <c:pt idx="669">
                  <c:v>1347</c:v>
                </c:pt>
                <c:pt idx="670">
                  <c:v>1349.6666666666667</c:v>
                </c:pt>
                <c:pt idx="671">
                  <c:v>1307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3961-224D-80C1-0037B60455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089286351"/>
        <c:axId val="1089288047"/>
      </c:scatterChart>
      <c:valAx>
        <c:axId val="1089286351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00" dirty="0">
                    <a:solidFill>
                      <a:schemeClr val="tx1"/>
                    </a:solidFill>
                  </a:rPr>
                  <a:t>Time [days]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4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89288047"/>
        <c:crosses val="autoZero"/>
        <c:crossBetween val="midCat"/>
        <c:majorUnit val="2"/>
        <c:minorUnit val="1"/>
      </c:valAx>
      <c:valAx>
        <c:axId val="108928804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00" dirty="0">
                    <a:solidFill>
                      <a:schemeClr val="tx1"/>
                    </a:solidFill>
                  </a:rPr>
                  <a:t>Pressure [hPa]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4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89286351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6502669309236382"/>
          <c:y val="0.42346391843074715"/>
          <c:w val="0.23231402044893643"/>
          <c:h val="0.2428057433538258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000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 sz="2000" dirty="0">
                <a:solidFill>
                  <a:schemeClr val="tx1"/>
                </a:solidFill>
              </a:rPr>
              <a:t>Comparison</a:t>
            </a:r>
            <a:r>
              <a:rPr lang="en-US" sz="2000" baseline="0" dirty="0">
                <a:solidFill>
                  <a:schemeClr val="tx1"/>
                </a:solidFill>
              </a:rPr>
              <a:t> Stirred Vs. Unstirred Fermentation Residues</a:t>
            </a:r>
            <a:endParaRPr lang="en-US" sz="2000" dirty="0">
              <a:solidFill>
                <a:schemeClr val="tx1"/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000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7.8000874298990927E-2"/>
          <c:y val="0.11968707180683628"/>
          <c:w val="0.68331731928130279"/>
          <c:h val="0.76039199348220565"/>
        </c:manualLayout>
      </c:layout>
      <c:scatterChart>
        <c:scatterStyle val="lineMarker"/>
        <c:varyColors val="0"/>
        <c:ser>
          <c:idx val="0"/>
          <c:order val="0"/>
          <c:tx>
            <c:v>Average Stirred</c:v>
          </c:tx>
          <c:spPr>
            <a:ln w="25400" cap="rnd">
              <a:solidFill>
                <a:srgbClr val="4174BE"/>
              </a:solidFill>
              <a:round/>
            </a:ln>
            <a:effectLst/>
          </c:spPr>
          <c:marker>
            <c:symbol val="circle"/>
            <c:size val="5"/>
            <c:spPr>
              <a:noFill/>
              <a:ln w="9525">
                <a:noFill/>
              </a:ln>
              <a:effectLst/>
            </c:spPr>
          </c:marker>
          <c:xVal>
            <c:numRef>
              <c:f>'Volume Average Stirred vs unst.'!$A$5:$A$672</c:f>
              <c:numCache>
                <c:formatCode>0</c:formatCode>
                <c:ptCount val="668"/>
                <c:pt idx="0">
                  <c:v>0</c:v>
                </c:pt>
                <c:pt idx="1">
                  <c:v>4.1666666666666664E-2</c:v>
                </c:pt>
                <c:pt idx="2">
                  <c:v>8.3333333333333329E-2</c:v>
                </c:pt>
                <c:pt idx="3">
                  <c:v>0.125</c:v>
                </c:pt>
                <c:pt idx="4">
                  <c:v>0.16666666666666666</c:v>
                </c:pt>
                <c:pt idx="5">
                  <c:v>0.20833333333333334</c:v>
                </c:pt>
                <c:pt idx="6">
                  <c:v>0.25</c:v>
                </c:pt>
                <c:pt idx="7">
                  <c:v>0.29166666666666669</c:v>
                </c:pt>
                <c:pt idx="8">
                  <c:v>0.33333333333333331</c:v>
                </c:pt>
                <c:pt idx="9">
                  <c:v>0.375</c:v>
                </c:pt>
                <c:pt idx="10">
                  <c:v>0.41666666666666669</c:v>
                </c:pt>
                <c:pt idx="11">
                  <c:v>0.45833333333333331</c:v>
                </c:pt>
                <c:pt idx="12">
                  <c:v>0.5</c:v>
                </c:pt>
                <c:pt idx="13">
                  <c:v>0.54166666666666663</c:v>
                </c:pt>
                <c:pt idx="14">
                  <c:v>0.58333333333333337</c:v>
                </c:pt>
                <c:pt idx="15">
                  <c:v>0.625</c:v>
                </c:pt>
                <c:pt idx="16">
                  <c:v>0.66666666666666663</c:v>
                </c:pt>
                <c:pt idx="17">
                  <c:v>0.70833333333333337</c:v>
                </c:pt>
                <c:pt idx="18">
                  <c:v>0.75</c:v>
                </c:pt>
                <c:pt idx="19">
                  <c:v>0.79166666666666663</c:v>
                </c:pt>
                <c:pt idx="20">
                  <c:v>0.83333333333333337</c:v>
                </c:pt>
                <c:pt idx="21">
                  <c:v>0.875</c:v>
                </c:pt>
                <c:pt idx="22">
                  <c:v>0.91666666666666663</c:v>
                </c:pt>
                <c:pt idx="23">
                  <c:v>0.95833333333333337</c:v>
                </c:pt>
                <c:pt idx="24">
                  <c:v>1</c:v>
                </c:pt>
                <c:pt idx="25">
                  <c:v>1.0416666666666667</c:v>
                </c:pt>
                <c:pt idx="26">
                  <c:v>1.0833333333333333</c:v>
                </c:pt>
                <c:pt idx="27">
                  <c:v>1.125</c:v>
                </c:pt>
                <c:pt idx="28">
                  <c:v>1.1666666666666667</c:v>
                </c:pt>
                <c:pt idx="29">
                  <c:v>1.2083333333333333</c:v>
                </c:pt>
                <c:pt idx="30">
                  <c:v>1.25</c:v>
                </c:pt>
                <c:pt idx="31">
                  <c:v>1.2916666666666667</c:v>
                </c:pt>
                <c:pt idx="32">
                  <c:v>1.3333333333333333</c:v>
                </c:pt>
                <c:pt idx="33">
                  <c:v>1.375</c:v>
                </c:pt>
                <c:pt idx="34">
                  <c:v>1.4166666666666667</c:v>
                </c:pt>
                <c:pt idx="35">
                  <c:v>1.4583333333333333</c:v>
                </c:pt>
                <c:pt idx="36">
                  <c:v>1.5</c:v>
                </c:pt>
                <c:pt idx="37">
                  <c:v>1.5416666666666667</c:v>
                </c:pt>
                <c:pt idx="38">
                  <c:v>1.5833333333333333</c:v>
                </c:pt>
                <c:pt idx="39">
                  <c:v>1.625</c:v>
                </c:pt>
                <c:pt idx="40">
                  <c:v>1.6666666666666667</c:v>
                </c:pt>
                <c:pt idx="41">
                  <c:v>1.7083333333333333</c:v>
                </c:pt>
                <c:pt idx="42">
                  <c:v>1.75</c:v>
                </c:pt>
                <c:pt idx="43">
                  <c:v>1.7916666666666667</c:v>
                </c:pt>
                <c:pt idx="44">
                  <c:v>1.8333333333333333</c:v>
                </c:pt>
                <c:pt idx="45">
                  <c:v>1.875</c:v>
                </c:pt>
                <c:pt idx="46">
                  <c:v>1.9166666666666667</c:v>
                </c:pt>
                <c:pt idx="47">
                  <c:v>1.9583333333333333</c:v>
                </c:pt>
                <c:pt idx="48">
                  <c:v>2</c:v>
                </c:pt>
                <c:pt idx="49">
                  <c:v>2.0416666666666665</c:v>
                </c:pt>
                <c:pt idx="50">
                  <c:v>2.0833333333333335</c:v>
                </c:pt>
                <c:pt idx="51">
                  <c:v>2.125</c:v>
                </c:pt>
                <c:pt idx="52">
                  <c:v>2.1666666666666665</c:v>
                </c:pt>
                <c:pt idx="53">
                  <c:v>2.2083333333333335</c:v>
                </c:pt>
                <c:pt idx="54">
                  <c:v>2.25</c:v>
                </c:pt>
                <c:pt idx="55">
                  <c:v>2.2916666666666665</c:v>
                </c:pt>
                <c:pt idx="56">
                  <c:v>2.3333333333333335</c:v>
                </c:pt>
                <c:pt idx="57">
                  <c:v>2.375</c:v>
                </c:pt>
                <c:pt idx="58">
                  <c:v>2.4166666666666665</c:v>
                </c:pt>
                <c:pt idx="59">
                  <c:v>2.4583333333333335</c:v>
                </c:pt>
                <c:pt idx="60">
                  <c:v>2.5</c:v>
                </c:pt>
                <c:pt idx="61">
                  <c:v>2.5416666666666665</c:v>
                </c:pt>
                <c:pt idx="62">
                  <c:v>2.5833333333333335</c:v>
                </c:pt>
                <c:pt idx="63">
                  <c:v>2.625</c:v>
                </c:pt>
                <c:pt idx="64">
                  <c:v>2.6666666666666665</c:v>
                </c:pt>
                <c:pt idx="65">
                  <c:v>2.7083333333333335</c:v>
                </c:pt>
                <c:pt idx="66">
                  <c:v>2.75</c:v>
                </c:pt>
                <c:pt idx="67">
                  <c:v>2.7916666666666665</c:v>
                </c:pt>
                <c:pt idx="68">
                  <c:v>2.8333333333333335</c:v>
                </c:pt>
                <c:pt idx="69">
                  <c:v>2.875</c:v>
                </c:pt>
                <c:pt idx="70">
                  <c:v>2.9166666666666665</c:v>
                </c:pt>
                <c:pt idx="71">
                  <c:v>2.9583333333333335</c:v>
                </c:pt>
                <c:pt idx="72">
                  <c:v>3</c:v>
                </c:pt>
                <c:pt idx="73">
                  <c:v>3.0416666666666665</c:v>
                </c:pt>
                <c:pt idx="74">
                  <c:v>3.0833333333333335</c:v>
                </c:pt>
                <c:pt idx="75">
                  <c:v>3.125</c:v>
                </c:pt>
                <c:pt idx="76">
                  <c:v>3.1666666666666665</c:v>
                </c:pt>
                <c:pt idx="77">
                  <c:v>3.2083333333333335</c:v>
                </c:pt>
                <c:pt idx="78">
                  <c:v>3.25</c:v>
                </c:pt>
                <c:pt idx="79">
                  <c:v>3.2916666666666665</c:v>
                </c:pt>
                <c:pt idx="80">
                  <c:v>3.3333333333333335</c:v>
                </c:pt>
                <c:pt idx="81">
                  <c:v>3.375</c:v>
                </c:pt>
                <c:pt idx="82">
                  <c:v>3.4166666666666665</c:v>
                </c:pt>
                <c:pt idx="83">
                  <c:v>3.4583333333333335</c:v>
                </c:pt>
                <c:pt idx="84">
                  <c:v>3.5</c:v>
                </c:pt>
                <c:pt idx="85">
                  <c:v>3.5416666666666665</c:v>
                </c:pt>
                <c:pt idx="86">
                  <c:v>3.5833333333333335</c:v>
                </c:pt>
                <c:pt idx="87">
                  <c:v>3.625</c:v>
                </c:pt>
                <c:pt idx="88">
                  <c:v>3.6666666666666665</c:v>
                </c:pt>
                <c:pt idx="89">
                  <c:v>3.7083333333333335</c:v>
                </c:pt>
                <c:pt idx="90">
                  <c:v>3.75</c:v>
                </c:pt>
                <c:pt idx="91">
                  <c:v>3.7916666666666665</c:v>
                </c:pt>
                <c:pt idx="92">
                  <c:v>3.8333333333333335</c:v>
                </c:pt>
                <c:pt idx="93">
                  <c:v>3.875</c:v>
                </c:pt>
                <c:pt idx="94">
                  <c:v>3.9166666666666665</c:v>
                </c:pt>
                <c:pt idx="95">
                  <c:v>3.9583333333333335</c:v>
                </c:pt>
                <c:pt idx="96">
                  <c:v>4</c:v>
                </c:pt>
                <c:pt idx="97">
                  <c:v>4.041666666666667</c:v>
                </c:pt>
                <c:pt idx="98">
                  <c:v>4.083333333333333</c:v>
                </c:pt>
                <c:pt idx="99">
                  <c:v>4.125</c:v>
                </c:pt>
                <c:pt idx="100">
                  <c:v>4.166666666666667</c:v>
                </c:pt>
                <c:pt idx="101">
                  <c:v>4.208333333333333</c:v>
                </c:pt>
                <c:pt idx="102">
                  <c:v>4.25</c:v>
                </c:pt>
                <c:pt idx="103">
                  <c:v>4.291666666666667</c:v>
                </c:pt>
                <c:pt idx="104">
                  <c:v>4.333333333333333</c:v>
                </c:pt>
                <c:pt idx="105">
                  <c:v>4.375</c:v>
                </c:pt>
                <c:pt idx="106">
                  <c:v>4.416666666666667</c:v>
                </c:pt>
                <c:pt idx="107">
                  <c:v>4.458333333333333</c:v>
                </c:pt>
                <c:pt idx="108">
                  <c:v>4.5</c:v>
                </c:pt>
                <c:pt idx="109">
                  <c:v>4.541666666666667</c:v>
                </c:pt>
                <c:pt idx="110">
                  <c:v>4.583333333333333</c:v>
                </c:pt>
                <c:pt idx="111">
                  <c:v>4.625</c:v>
                </c:pt>
                <c:pt idx="112">
                  <c:v>4.666666666666667</c:v>
                </c:pt>
                <c:pt idx="113">
                  <c:v>4.708333333333333</c:v>
                </c:pt>
                <c:pt idx="114">
                  <c:v>4.75</c:v>
                </c:pt>
                <c:pt idx="115">
                  <c:v>4.791666666666667</c:v>
                </c:pt>
                <c:pt idx="116">
                  <c:v>4.833333333333333</c:v>
                </c:pt>
                <c:pt idx="117">
                  <c:v>4.875</c:v>
                </c:pt>
                <c:pt idx="118">
                  <c:v>4.916666666666667</c:v>
                </c:pt>
                <c:pt idx="119">
                  <c:v>4.958333333333333</c:v>
                </c:pt>
                <c:pt idx="120">
                  <c:v>5</c:v>
                </c:pt>
                <c:pt idx="121">
                  <c:v>5.041666666666667</c:v>
                </c:pt>
                <c:pt idx="122">
                  <c:v>5.083333333333333</c:v>
                </c:pt>
                <c:pt idx="123">
                  <c:v>5.125</c:v>
                </c:pt>
                <c:pt idx="124">
                  <c:v>5.166666666666667</c:v>
                </c:pt>
                <c:pt idx="125">
                  <c:v>5.208333333333333</c:v>
                </c:pt>
                <c:pt idx="126">
                  <c:v>5.25</c:v>
                </c:pt>
                <c:pt idx="127">
                  <c:v>5.291666666666667</c:v>
                </c:pt>
                <c:pt idx="128">
                  <c:v>5.333333333333333</c:v>
                </c:pt>
                <c:pt idx="129">
                  <c:v>5.375</c:v>
                </c:pt>
                <c:pt idx="130">
                  <c:v>5.416666666666667</c:v>
                </c:pt>
                <c:pt idx="131">
                  <c:v>5.458333333333333</c:v>
                </c:pt>
                <c:pt idx="132">
                  <c:v>5.5</c:v>
                </c:pt>
                <c:pt idx="133">
                  <c:v>5.541666666666667</c:v>
                </c:pt>
                <c:pt idx="134">
                  <c:v>5.583333333333333</c:v>
                </c:pt>
                <c:pt idx="135">
                  <c:v>5.625</c:v>
                </c:pt>
                <c:pt idx="136">
                  <c:v>5.666666666666667</c:v>
                </c:pt>
                <c:pt idx="137">
                  <c:v>5.708333333333333</c:v>
                </c:pt>
                <c:pt idx="138">
                  <c:v>5.75</c:v>
                </c:pt>
                <c:pt idx="139">
                  <c:v>5.791666666666667</c:v>
                </c:pt>
                <c:pt idx="140">
                  <c:v>5.833333333333333</c:v>
                </c:pt>
                <c:pt idx="141">
                  <c:v>5.875</c:v>
                </c:pt>
                <c:pt idx="142">
                  <c:v>5.916666666666667</c:v>
                </c:pt>
                <c:pt idx="143">
                  <c:v>5.958333333333333</c:v>
                </c:pt>
                <c:pt idx="144">
                  <c:v>6</c:v>
                </c:pt>
                <c:pt idx="145">
                  <c:v>6.041666666666667</c:v>
                </c:pt>
                <c:pt idx="146">
                  <c:v>6.083333333333333</c:v>
                </c:pt>
                <c:pt idx="147">
                  <c:v>6.125</c:v>
                </c:pt>
                <c:pt idx="148">
                  <c:v>6.166666666666667</c:v>
                </c:pt>
                <c:pt idx="149">
                  <c:v>6.208333333333333</c:v>
                </c:pt>
                <c:pt idx="150">
                  <c:v>6.25</c:v>
                </c:pt>
                <c:pt idx="151">
                  <c:v>6.291666666666667</c:v>
                </c:pt>
                <c:pt idx="152">
                  <c:v>6.333333333333333</c:v>
                </c:pt>
                <c:pt idx="153">
                  <c:v>6.375</c:v>
                </c:pt>
                <c:pt idx="154">
                  <c:v>6.416666666666667</c:v>
                </c:pt>
                <c:pt idx="155">
                  <c:v>6.458333333333333</c:v>
                </c:pt>
                <c:pt idx="156">
                  <c:v>6.5</c:v>
                </c:pt>
                <c:pt idx="157">
                  <c:v>6.541666666666667</c:v>
                </c:pt>
                <c:pt idx="158">
                  <c:v>6.583333333333333</c:v>
                </c:pt>
                <c:pt idx="159">
                  <c:v>6.625</c:v>
                </c:pt>
                <c:pt idx="160">
                  <c:v>6.666666666666667</c:v>
                </c:pt>
                <c:pt idx="161">
                  <c:v>6.708333333333333</c:v>
                </c:pt>
                <c:pt idx="162">
                  <c:v>6.75</c:v>
                </c:pt>
                <c:pt idx="163">
                  <c:v>6.791666666666667</c:v>
                </c:pt>
                <c:pt idx="164">
                  <c:v>6.833333333333333</c:v>
                </c:pt>
                <c:pt idx="165">
                  <c:v>6.875</c:v>
                </c:pt>
                <c:pt idx="166">
                  <c:v>6.916666666666667</c:v>
                </c:pt>
                <c:pt idx="167">
                  <c:v>6.958333333333333</c:v>
                </c:pt>
                <c:pt idx="168">
                  <c:v>7</c:v>
                </c:pt>
                <c:pt idx="169">
                  <c:v>7.041666666666667</c:v>
                </c:pt>
                <c:pt idx="170">
                  <c:v>7.083333333333333</c:v>
                </c:pt>
                <c:pt idx="171">
                  <c:v>7.125</c:v>
                </c:pt>
                <c:pt idx="172">
                  <c:v>7.166666666666667</c:v>
                </c:pt>
                <c:pt idx="173">
                  <c:v>7.208333333333333</c:v>
                </c:pt>
                <c:pt idx="174">
                  <c:v>7.25</c:v>
                </c:pt>
                <c:pt idx="175">
                  <c:v>7.291666666666667</c:v>
                </c:pt>
                <c:pt idx="176">
                  <c:v>7.333333333333333</c:v>
                </c:pt>
                <c:pt idx="177">
                  <c:v>7.375</c:v>
                </c:pt>
                <c:pt idx="178">
                  <c:v>7.416666666666667</c:v>
                </c:pt>
                <c:pt idx="179">
                  <c:v>7.458333333333333</c:v>
                </c:pt>
                <c:pt idx="180">
                  <c:v>7.5</c:v>
                </c:pt>
                <c:pt idx="181">
                  <c:v>7.541666666666667</c:v>
                </c:pt>
                <c:pt idx="182">
                  <c:v>7.583333333333333</c:v>
                </c:pt>
                <c:pt idx="183">
                  <c:v>7.625</c:v>
                </c:pt>
                <c:pt idx="184">
                  <c:v>7.666666666666667</c:v>
                </c:pt>
                <c:pt idx="185">
                  <c:v>7.708333333333333</c:v>
                </c:pt>
                <c:pt idx="186">
                  <c:v>7.75</c:v>
                </c:pt>
                <c:pt idx="187">
                  <c:v>7.791666666666667</c:v>
                </c:pt>
                <c:pt idx="188">
                  <c:v>7.833333333333333</c:v>
                </c:pt>
                <c:pt idx="189">
                  <c:v>7.875</c:v>
                </c:pt>
                <c:pt idx="190">
                  <c:v>7.916666666666667</c:v>
                </c:pt>
                <c:pt idx="191">
                  <c:v>7.958333333333333</c:v>
                </c:pt>
                <c:pt idx="192">
                  <c:v>8</c:v>
                </c:pt>
                <c:pt idx="193">
                  <c:v>8.0416666666666661</c:v>
                </c:pt>
                <c:pt idx="194">
                  <c:v>8.0833333333333339</c:v>
                </c:pt>
                <c:pt idx="195">
                  <c:v>8.125</c:v>
                </c:pt>
                <c:pt idx="196">
                  <c:v>8.1666666666666661</c:v>
                </c:pt>
                <c:pt idx="197">
                  <c:v>8.2083333333333339</c:v>
                </c:pt>
                <c:pt idx="198">
                  <c:v>8.25</c:v>
                </c:pt>
                <c:pt idx="199">
                  <c:v>8.2916666666666661</c:v>
                </c:pt>
                <c:pt idx="200">
                  <c:v>8.3333333333333339</c:v>
                </c:pt>
                <c:pt idx="201">
                  <c:v>8.375</c:v>
                </c:pt>
                <c:pt idx="202">
                  <c:v>8.4166666666666661</c:v>
                </c:pt>
                <c:pt idx="203">
                  <c:v>8.4583333333333339</c:v>
                </c:pt>
                <c:pt idx="204">
                  <c:v>8.5</c:v>
                </c:pt>
                <c:pt idx="205">
                  <c:v>8.5416666666666661</c:v>
                </c:pt>
                <c:pt idx="206">
                  <c:v>8.5833333333333339</c:v>
                </c:pt>
                <c:pt idx="207">
                  <c:v>8.625</c:v>
                </c:pt>
                <c:pt idx="208">
                  <c:v>8.6666666666666661</c:v>
                </c:pt>
                <c:pt idx="209">
                  <c:v>8.7083333333333339</c:v>
                </c:pt>
                <c:pt idx="210">
                  <c:v>8.75</c:v>
                </c:pt>
                <c:pt idx="211">
                  <c:v>8.7916666666666661</c:v>
                </c:pt>
                <c:pt idx="212">
                  <c:v>8.8333333333333339</c:v>
                </c:pt>
                <c:pt idx="213">
                  <c:v>8.875</c:v>
                </c:pt>
                <c:pt idx="214">
                  <c:v>8.9166666666666661</c:v>
                </c:pt>
                <c:pt idx="215">
                  <c:v>8.9583333333333339</c:v>
                </c:pt>
                <c:pt idx="216">
                  <c:v>9</c:v>
                </c:pt>
                <c:pt idx="217">
                  <c:v>9.0416666666666661</c:v>
                </c:pt>
                <c:pt idx="218">
                  <c:v>9.0833333333333339</c:v>
                </c:pt>
                <c:pt idx="219">
                  <c:v>9.125</c:v>
                </c:pt>
                <c:pt idx="220">
                  <c:v>9.1666666666666661</c:v>
                </c:pt>
                <c:pt idx="221">
                  <c:v>9.2083333333333339</c:v>
                </c:pt>
                <c:pt idx="222">
                  <c:v>9.25</c:v>
                </c:pt>
                <c:pt idx="223">
                  <c:v>9.2916666666666661</c:v>
                </c:pt>
                <c:pt idx="224">
                  <c:v>9.3333333333333339</c:v>
                </c:pt>
                <c:pt idx="225">
                  <c:v>9.375</c:v>
                </c:pt>
                <c:pt idx="226">
                  <c:v>9.4166666666666661</c:v>
                </c:pt>
                <c:pt idx="227">
                  <c:v>9.4583333333333339</c:v>
                </c:pt>
                <c:pt idx="228">
                  <c:v>9.5</c:v>
                </c:pt>
                <c:pt idx="229">
                  <c:v>9.5416666666666661</c:v>
                </c:pt>
                <c:pt idx="230">
                  <c:v>9.5833333333333339</c:v>
                </c:pt>
                <c:pt idx="231">
                  <c:v>9.625</c:v>
                </c:pt>
                <c:pt idx="232">
                  <c:v>9.6666666666666661</c:v>
                </c:pt>
                <c:pt idx="233">
                  <c:v>9.7083333333333339</c:v>
                </c:pt>
                <c:pt idx="234">
                  <c:v>9.75</c:v>
                </c:pt>
                <c:pt idx="235">
                  <c:v>9.7916666666666661</c:v>
                </c:pt>
                <c:pt idx="236">
                  <c:v>9.8333333333333339</c:v>
                </c:pt>
                <c:pt idx="237">
                  <c:v>9.875</c:v>
                </c:pt>
                <c:pt idx="238">
                  <c:v>9.9166666666666661</c:v>
                </c:pt>
                <c:pt idx="239">
                  <c:v>9.9583333333333339</c:v>
                </c:pt>
                <c:pt idx="240">
                  <c:v>10</c:v>
                </c:pt>
                <c:pt idx="241">
                  <c:v>10.041666666666666</c:v>
                </c:pt>
                <c:pt idx="242">
                  <c:v>10.083333333333334</c:v>
                </c:pt>
                <c:pt idx="243">
                  <c:v>10.125</c:v>
                </c:pt>
                <c:pt idx="244">
                  <c:v>10.166666666666666</c:v>
                </c:pt>
                <c:pt idx="245">
                  <c:v>10.208333333333334</c:v>
                </c:pt>
                <c:pt idx="246">
                  <c:v>10.25</c:v>
                </c:pt>
                <c:pt idx="247">
                  <c:v>10.291666666666666</c:v>
                </c:pt>
                <c:pt idx="248">
                  <c:v>10.333333333333334</c:v>
                </c:pt>
                <c:pt idx="249">
                  <c:v>10.375</c:v>
                </c:pt>
                <c:pt idx="250">
                  <c:v>10.416666666666666</c:v>
                </c:pt>
                <c:pt idx="251">
                  <c:v>10.458333333333334</c:v>
                </c:pt>
                <c:pt idx="252">
                  <c:v>10.5</c:v>
                </c:pt>
                <c:pt idx="253">
                  <c:v>10.541666666666666</c:v>
                </c:pt>
                <c:pt idx="254">
                  <c:v>10.583333333333334</c:v>
                </c:pt>
                <c:pt idx="255">
                  <c:v>10.625</c:v>
                </c:pt>
                <c:pt idx="256">
                  <c:v>10.666666666666666</c:v>
                </c:pt>
                <c:pt idx="257">
                  <c:v>10.708333333333334</c:v>
                </c:pt>
                <c:pt idx="258">
                  <c:v>10.75</c:v>
                </c:pt>
                <c:pt idx="259">
                  <c:v>10.791666666666666</c:v>
                </c:pt>
                <c:pt idx="260">
                  <c:v>10.833333333333334</c:v>
                </c:pt>
                <c:pt idx="261">
                  <c:v>10.875</c:v>
                </c:pt>
                <c:pt idx="262">
                  <c:v>10.916666666666666</c:v>
                </c:pt>
                <c:pt idx="263">
                  <c:v>10.958333333333334</c:v>
                </c:pt>
                <c:pt idx="264">
                  <c:v>11</c:v>
                </c:pt>
                <c:pt idx="265">
                  <c:v>11.041666666666666</c:v>
                </c:pt>
                <c:pt idx="266">
                  <c:v>11.083333333333334</c:v>
                </c:pt>
                <c:pt idx="267">
                  <c:v>11.125</c:v>
                </c:pt>
                <c:pt idx="268">
                  <c:v>11.166666666666666</c:v>
                </c:pt>
                <c:pt idx="269">
                  <c:v>11.208333333333334</c:v>
                </c:pt>
                <c:pt idx="270">
                  <c:v>11.25</c:v>
                </c:pt>
                <c:pt idx="271">
                  <c:v>11.291666666666666</c:v>
                </c:pt>
                <c:pt idx="272">
                  <c:v>11.333333333333334</c:v>
                </c:pt>
                <c:pt idx="273">
                  <c:v>11.375</c:v>
                </c:pt>
                <c:pt idx="274">
                  <c:v>11.416666666666666</c:v>
                </c:pt>
                <c:pt idx="275">
                  <c:v>11.458333333333334</c:v>
                </c:pt>
                <c:pt idx="276">
                  <c:v>11.5</c:v>
                </c:pt>
                <c:pt idx="277">
                  <c:v>11.541666666666666</c:v>
                </c:pt>
                <c:pt idx="278">
                  <c:v>11.583333333333334</c:v>
                </c:pt>
                <c:pt idx="279">
                  <c:v>11.625</c:v>
                </c:pt>
                <c:pt idx="280">
                  <c:v>11.666666666666666</c:v>
                </c:pt>
                <c:pt idx="281">
                  <c:v>11.708333333333334</c:v>
                </c:pt>
                <c:pt idx="282">
                  <c:v>11.75</c:v>
                </c:pt>
                <c:pt idx="283">
                  <c:v>11.791666666666666</c:v>
                </c:pt>
                <c:pt idx="284">
                  <c:v>11.833333333333334</c:v>
                </c:pt>
                <c:pt idx="285">
                  <c:v>11.875</c:v>
                </c:pt>
                <c:pt idx="286">
                  <c:v>11.916666666666666</c:v>
                </c:pt>
                <c:pt idx="287">
                  <c:v>11.958333333333334</c:v>
                </c:pt>
                <c:pt idx="288">
                  <c:v>12</c:v>
                </c:pt>
                <c:pt idx="289">
                  <c:v>12.041666666666666</c:v>
                </c:pt>
                <c:pt idx="290">
                  <c:v>12.083333333333334</c:v>
                </c:pt>
                <c:pt idx="291">
                  <c:v>12.125</c:v>
                </c:pt>
                <c:pt idx="292">
                  <c:v>12.166666666666666</c:v>
                </c:pt>
                <c:pt idx="293">
                  <c:v>12.208333333333334</c:v>
                </c:pt>
                <c:pt idx="294">
                  <c:v>12.25</c:v>
                </c:pt>
                <c:pt idx="295">
                  <c:v>12.291666666666666</c:v>
                </c:pt>
                <c:pt idx="296">
                  <c:v>12.333333333333334</c:v>
                </c:pt>
                <c:pt idx="297">
                  <c:v>12.375</c:v>
                </c:pt>
                <c:pt idx="298">
                  <c:v>12.416666666666666</c:v>
                </c:pt>
                <c:pt idx="299">
                  <c:v>12.458333333333334</c:v>
                </c:pt>
                <c:pt idx="300">
                  <c:v>12.5</c:v>
                </c:pt>
                <c:pt idx="301">
                  <c:v>12.541666666666666</c:v>
                </c:pt>
                <c:pt idx="302">
                  <c:v>12.583333333333334</c:v>
                </c:pt>
                <c:pt idx="303">
                  <c:v>12.625</c:v>
                </c:pt>
                <c:pt idx="304">
                  <c:v>12.666666666666666</c:v>
                </c:pt>
                <c:pt idx="305">
                  <c:v>12.708333333333334</c:v>
                </c:pt>
                <c:pt idx="306">
                  <c:v>12.75</c:v>
                </c:pt>
                <c:pt idx="307">
                  <c:v>12.791666666666666</c:v>
                </c:pt>
                <c:pt idx="308">
                  <c:v>12.833333333333334</c:v>
                </c:pt>
                <c:pt idx="309">
                  <c:v>12.875</c:v>
                </c:pt>
                <c:pt idx="310">
                  <c:v>12.916666666666666</c:v>
                </c:pt>
                <c:pt idx="311">
                  <c:v>12.958333333333334</c:v>
                </c:pt>
                <c:pt idx="312">
                  <c:v>13</c:v>
                </c:pt>
                <c:pt idx="313">
                  <c:v>13.041666666666666</c:v>
                </c:pt>
                <c:pt idx="314">
                  <c:v>13.083333333333334</c:v>
                </c:pt>
                <c:pt idx="315">
                  <c:v>13.125</c:v>
                </c:pt>
                <c:pt idx="316">
                  <c:v>13.166666666666666</c:v>
                </c:pt>
                <c:pt idx="317">
                  <c:v>13.208333333333334</c:v>
                </c:pt>
                <c:pt idx="318">
                  <c:v>13.25</c:v>
                </c:pt>
                <c:pt idx="319">
                  <c:v>13.291666666666666</c:v>
                </c:pt>
                <c:pt idx="320">
                  <c:v>13.333333333333334</c:v>
                </c:pt>
                <c:pt idx="321">
                  <c:v>13.375</c:v>
                </c:pt>
                <c:pt idx="322">
                  <c:v>13.416666666666666</c:v>
                </c:pt>
                <c:pt idx="323">
                  <c:v>13.458333333333334</c:v>
                </c:pt>
                <c:pt idx="324">
                  <c:v>13.5</c:v>
                </c:pt>
                <c:pt idx="325">
                  <c:v>13.541666666666666</c:v>
                </c:pt>
                <c:pt idx="326">
                  <c:v>13.583333333333334</c:v>
                </c:pt>
                <c:pt idx="327">
                  <c:v>13.625</c:v>
                </c:pt>
                <c:pt idx="328">
                  <c:v>13.666666666666666</c:v>
                </c:pt>
                <c:pt idx="329">
                  <c:v>13.708333333333334</c:v>
                </c:pt>
                <c:pt idx="330">
                  <c:v>13.75</c:v>
                </c:pt>
                <c:pt idx="331">
                  <c:v>13.791666666666666</c:v>
                </c:pt>
                <c:pt idx="332">
                  <c:v>13.833333333333334</c:v>
                </c:pt>
                <c:pt idx="333">
                  <c:v>13.875</c:v>
                </c:pt>
                <c:pt idx="334">
                  <c:v>13.916666666666666</c:v>
                </c:pt>
                <c:pt idx="335">
                  <c:v>13.958333333333334</c:v>
                </c:pt>
                <c:pt idx="336">
                  <c:v>14</c:v>
                </c:pt>
                <c:pt idx="337">
                  <c:v>14.041666666666666</c:v>
                </c:pt>
                <c:pt idx="338">
                  <c:v>14.083333333333334</c:v>
                </c:pt>
                <c:pt idx="339">
                  <c:v>14.125</c:v>
                </c:pt>
                <c:pt idx="340">
                  <c:v>14.166666666666666</c:v>
                </c:pt>
                <c:pt idx="341">
                  <c:v>14.208333333333334</c:v>
                </c:pt>
                <c:pt idx="342">
                  <c:v>14.25</c:v>
                </c:pt>
                <c:pt idx="343">
                  <c:v>14.291666666666666</c:v>
                </c:pt>
                <c:pt idx="344">
                  <c:v>14.333333333333334</c:v>
                </c:pt>
                <c:pt idx="345">
                  <c:v>14.375</c:v>
                </c:pt>
                <c:pt idx="346">
                  <c:v>14.416666666666666</c:v>
                </c:pt>
                <c:pt idx="347">
                  <c:v>14.458333333333334</c:v>
                </c:pt>
                <c:pt idx="348">
                  <c:v>14.5</c:v>
                </c:pt>
                <c:pt idx="349">
                  <c:v>14.541666666666666</c:v>
                </c:pt>
                <c:pt idx="350">
                  <c:v>14.583333333333334</c:v>
                </c:pt>
                <c:pt idx="351">
                  <c:v>14.625</c:v>
                </c:pt>
                <c:pt idx="352">
                  <c:v>14.666666666666666</c:v>
                </c:pt>
                <c:pt idx="353">
                  <c:v>14.708333333333334</c:v>
                </c:pt>
                <c:pt idx="354">
                  <c:v>14.75</c:v>
                </c:pt>
                <c:pt idx="355">
                  <c:v>14.791666666666666</c:v>
                </c:pt>
                <c:pt idx="356">
                  <c:v>14.833333333333334</c:v>
                </c:pt>
                <c:pt idx="357">
                  <c:v>14.875</c:v>
                </c:pt>
                <c:pt idx="358">
                  <c:v>14.916666666666666</c:v>
                </c:pt>
                <c:pt idx="359">
                  <c:v>14.958333333333334</c:v>
                </c:pt>
                <c:pt idx="360">
                  <c:v>15</c:v>
                </c:pt>
                <c:pt idx="361">
                  <c:v>15.041666666666666</c:v>
                </c:pt>
                <c:pt idx="362">
                  <c:v>15.083333333333334</c:v>
                </c:pt>
                <c:pt idx="363">
                  <c:v>15.125</c:v>
                </c:pt>
                <c:pt idx="364">
                  <c:v>15.166666666666666</c:v>
                </c:pt>
                <c:pt idx="365">
                  <c:v>15.208333333333334</c:v>
                </c:pt>
                <c:pt idx="366">
                  <c:v>15.25</c:v>
                </c:pt>
                <c:pt idx="367">
                  <c:v>15.291666666666666</c:v>
                </c:pt>
                <c:pt idx="368">
                  <c:v>15.333333333333334</c:v>
                </c:pt>
                <c:pt idx="369">
                  <c:v>15.375</c:v>
                </c:pt>
                <c:pt idx="370">
                  <c:v>15.416666666666666</c:v>
                </c:pt>
                <c:pt idx="371">
                  <c:v>15.458333333333334</c:v>
                </c:pt>
                <c:pt idx="372">
                  <c:v>15.5</c:v>
                </c:pt>
                <c:pt idx="373">
                  <c:v>15.541666666666666</c:v>
                </c:pt>
                <c:pt idx="374">
                  <c:v>15.583333333333334</c:v>
                </c:pt>
                <c:pt idx="375">
                  <c:v>15.625</c:v>
                </c:pt>
                <c:pt idx="376">
                  <c:v>15.666666666666666</c:v>
                </c:pt>
                <c:pt idx="377">
                  <c:v>15.708333333333334</c:v>
                </c:pt>
                <c:pt idx="378">
                  <c:v>15.75</c:v>
                </c:pt>
                <c:pt idx="379">
                  <c:v>15.791666666666666</c:v>
                </c:pt>
                <c:pt idx="380">
                  <c:v>15.833333333333334</c:v>
                </c:pt>
                <c:pt idx="381">
                  <c:v>15.875</c:v>
                </c:pt>
                <c:pt idx="382">
                  <c:v>15.916666666666666</c:v>
                </c:pt>
                <c:pt idx="383">
                  <c:v>15.958333333333334</c:v>
                </c:pt>
                <c:pt idx="384">
                  <c:v>16</c:v>
                </c:pt>
                <c:pt idx="385">
                  <c:v>16.041666666666668</c:v>
                </c:pt>
                <c:pt idx="386">
                  <c:v>16.083333333333332</c:v>
                </c:pt>
                <c:pt idx="387">
                  <c:v>16.125</c:v>
                </c:pt>
                <c:pt idx="388">
                  <c:v>16.166666666666668</c:v>
                </c:pt>
                <c:pt idx="389">
                  <c:v>16.208333333333332</c:v>
                </c:pt>
                <c:pt idx="390">
                  <c:v>16.25</c:v>
                </c:pt>
                <c:pt idx="391">
                  <c:v>16.291666666666668</c:v>
                </c:pt>
                <c:pt idx="392">
                  <c:v>16.333333333333332</c:v>
                </c:pt>
                <c:pt idx="393">
                  <c:v>16.375</c:v>
                </c:pt>
                <c:pt idx="394">
                  <c:v>16.416666666666668</c:v>
                </c:pt>
                <c:pt idx="395">
                  <c:v>16.458333333333332</c:v>
                </c:pt>
                <c:pt idx="396">
                  <c:v>16.5</c:v>
                </c:pt>
                <c:pt idx="397">
                  <c:v>16.541666666666668</c:v>
                </c:pt>
                <c:pt idx="398">
                  <c:v>16.583333333333332</c:v>
                </c:pt>
                <c:pt idx="399">
                  <c:v>16.625</c:v>
                </c:pt>
                <c:pt idx="400">
                  <c:v>16.666666666666668</c:v>
                </c:pt>
                <c:pt idx="401">
                  <c:v>16.708333333333332</c:v>
                </c:pt>
                <c:pt idx="402">
                  <c:v>16.75</c:v>
                </c:pt>
                <c:pt idx="403">
                  <c:v>16.791666666666668</c:v>
                </c:pt>
                <c:pt idx="404">
                  <c:v>16.833333333333332</c:v>
                </c:pt>
                <c:pt idx="405">
                  <c:v>16.875</c:v>
                </c:pt>
                <c:pt idx="406">
                  <c:v>16.916666666666668</c:v>
                </c:pt>
                <c:pt idx="407">
                  <c:v>16.958333333333332</c:v>
                </c:pt>
                <c:pt idx="408">
                  <c:v>17</c:v>
                </c:pt>
                <c:pt idx="409">
                  <c:v>17.041666666666668</c:v>
                </c:pt>
                <c:pt idx="410">
                  <c:v>17.083333333333332</c:v>
                </c:pt>
                <c:pt idx="411">
                  <c:v>17.125</c:v>
                </c:pt>
                <c:pt idx="412">
                  <c:v>17.166666666666668</c:v>
                </c:pt>
                <c:pt idx="413">
                  <c:v>17.208333333333332</c:v>
                </c:pt>
                <c:pt idx="414">
                  <c:v>17.25</c:v>
                </c:pt>
                <c:pt idx="415">
                  <c:v>17.291666666666668</c:v>
                </c:pt>
                <c:pt idx="416">
                  <c:v>17.333333333333332</c:v>
                </c:pt>
                <c:pt idx="417">
                  <c:v>17.375</c:v>
                </c:pt>
                <c:pt idx="418">
                  <c:v>17.416666666666668</c:v>
                </c:pt>
                <c:pt idx="419">
                  <c:v>17.458333333333332</c:v>
                </c:pt>
                <c:pt idx="420">
                  <c:v>17.5</c:v>
                </c:pt>
                <c:pt idx="421">
                  <c:v>17.541666666666668</c:v>
                </c:pt>
                <c:pt idx="422">
                  <c:v>17.583333333333332</c:v>
                </c:pt>
                <c:pt idx="423">
                  <c:v>17.625</c:v>
                </c:pt>
                <c:pt idx="424">
                  <c:v>17.666666666666668</c:v>
                </c:pt>
                <c:pt idx="425">
                  <c:v>17.708333333333332</c:v>
                </c:pt>
                <c:pt idx="426">
                  <c:v>17.75</c:v>
                </c:pt>
                <c:pt idx="427">
                  <c:v>17.791666666666668</c:v>
                </c:pt>
                <c:pt idx="428">
                  <c:v>17.833333333333332</c:v>
                </c:pt>
                <c:pt idx="429">
                  <c:v>17.875</c:v>
                </c:pt>
                <c:pt idx="430">
                  <c:v>17.916666666666668</c:v>
                </c:pt>
                <c:pt idx="431">
                  <c:v>17.958333333333332</c:v>
                </c:pt>
                <c:pt idx="432">
                  <c:v>18</c:v>
                </c:pt>
                <c:pt idx="433">
                  <c:v>18.041666666666668</c:v>
                </c:pt>
                <c:pt idx="434">
                  <c:v>18.083333333333332</c:v>
                </c:pt>
                <c:pt idx="435">
                  <c:v>18.125</c:v>
                </c:pt>
                <c:pt idx="436">
                  <c:v>18.166666666666668</c:v>
                </c:pt>
                <c:pt idx="437">
                  <c:v>18.208333333333332</c:v>
                </c:pt>
                <c:pt idx="438">
                  <c:v>18.25</c:v>
                </c:pt>
                <c:pt idx="439">
                  <c:v>18.291666666666668</c:v>
                </c:pt>
                <c:pt idx="440">
                  <c:v>18.333333333333332</c:v>
                </c:pt>
                <c:pt idx="441">
                  <c:v>18.375</c:v>
                </c:pt>
                <c:pt idx="442">
                  <c:v>18.416666666666668</c:v>
                </c:pt>
                <c:pt idx="443">
                  <c:v>18.458333333333332</c:v>
                </c:pt>
                <c:pt idx="444">
                  <c:v>18.5</c:v>
                </c:pt>
                <c:pt idx="445">
                  <c:v>18.541666666666668</c:v>
                </c:pt>
                <c:pt idx="446">
                  <c:v>18.583333333333332</c:v>
                </c:pt>
                <c:pt idx="447">
                  <c:v>18.625</c:v>
                </c:pt>
                <c:pt idx="448">
                  <c:v>18.666666666666668</c:v>
                </c:pt>
                <c:pt idx="449">
                  <c:v>18.708333333333332</c:v>
                </c:pt>
                <c:pt idx="450">
                  <c:v>18.75</c:v>
                </c:pt>
                <c:pt idx="451">
                  <c:v>18.791666666666668</c:v>
                </c:pt>
                <c:pt idx="452">
                  <c:v>18.833333333333332</c:v>
                </c:pt>
                <c:pt idx="453">
                  <c:v>18.875</c:v>
                </c:pt>
                <c:pt idx="454">
                  <c:v>18.916666666666668</c:v>
                </c:pt>
                <c:pt idx="455">
                  <c:v>18.958333333333332</c:v>
                </c:pt>
                <c:pt idx="456">
                  <c:v>19</c:v>
                </c:pt>
                <c:pt idx="457">
                  <c:v>19.041666666666668</c:v>
                </c:pt>
                <c:pt idx="458">
                  <c:v>19.083333333333332</c:v>
                </c:pt>
                <c:pt idx="459">
                  <c:v>19.125</c:v>
                </c:pt>
                <c:pt idx="460">
                  <c:v>19.166666666666668</c:v>
                </c:pt>
                <c:pt idx="461">
                  <c:v>19.208333333333332</c:v>
                </c:pt>
                <c:pt idx="462">
                  <c:v>19.25</c:v>
                </c:pt>
                <c:pt idx="463">
                  <c:v>19.291666666666668</c:v>
                </c:pt>
                <c:pt idx="464">
                  <c:v>19.333333333333332</c:v>
                </c:pt>
                <c:pt idx="465">
                  <c:v>19.375</c:v>
                </c:pt>
                <c:pt idx="466">
                  <c:v>19.416666666666668</c:v>
                </c:pt>
                <c:pt idx="467">
                  <c:v>19.458333333333332</c:v>
                </c:pt>
                <c:pt idx="468">
                  <c:v>19.5</c:v>
                </c:pt>
                <c:pt idx="469">
                  <c:v>19.541666666666668</c:v>
                </c:pt>
                <c:pt idx="470">
                  <c:v>19.583333333333332</c:v>
                </c:pt>
                <c:pt idx="471">
                  <c:v>19.625</c:v>
                </c:pt>
                <c:pt idx="472">
                  <c:v>19.666666666666668</c:v>
                </c:pt>
                <c:pt idx="473">
                  <c:v>19.708333333333332</c:v>
                </c:pt>
                <c:pt idx="474">
                  <c:v>19.75</c:v>
                </c:pt>
                <c:pt idx="475">
                  <c:v>19.791666666666668</c:v>
                </c:pt>
                <c:pt idx="476">
                  <c:v>19.833333333333332</c:v>
                </c:pt>
                <c:pt idx="477">
                  <c:v>19.875</c:v>
                </c:pt>
                <c:pt idx="478">
                  <c:v>19.916666666666668</c:v>
                </c:pt>
                <c:pt idx="479">
                  <c:v>19.958333333333332</c:v>
                </c:pt>
                <c:pt idx="480">
                  <c:v>20</c:v>
                </c:pt>
                <c:pt idx="481">
                  <c:v>20.041666666666668</c:v>
                </c:pt>
                <c:pt idx="482">
                  <c:v>20.083333333333332</c:v>
                </c:pt>
                <c:pt idx="483">
                  <c:v>20.125</c:v>
                </c:pt>
                <c:pt idx="484">
                  <c:v>20.166666666666668</c:v>
                </c:pt>
                <c:pt idx="485">
                  <c:v>20.208333333333332</c:v>
                </c:pt>
                <c:pt idx="486">
                  <c:v>20.25</c:v>
                </c:pt>
                <c:pt idx="487">
                  <c:v>20.291666666666668</c:v>
                </c:pt>
                <c:pt idx="488">
                  <c:v>20.333333333333332</c:v>
                </c:pt>
                <c:pt idx="489">
                  <c:v>20.375</c:v>
                </c:pt>
                <c:pt idx="490">
                  <c:v>20.416666666666668</c:v>
                </c:pt>
                <c:pt idx="491">
                  <c:v>20.458333333333332</c:v>
                </c:pt>
                <c:pt idx="492">
                  <c:v>20.5</c:v>
                </c:pt>
                <c:pt idx="493">
                  <c:v>20.541666666666668</c:v>
                </c:pt>
                <c:pt idx="494">
                  <c:v>20.583333333333332</c:v>
                </c:pt>
                <c:pt idx="495">
                  <c:v>20.625</c:v>
                </c:pt>
                <c:pt idx="496">
                  <c:v>20.666666666666668</c:v>
                </c:pt>
                <c:pt idx="497">
                  <c:v>20.708333333333332</c:v>
                </c:pt>
                <c:pt idx="498">
                  <c:v>20.75</c:v>
                </c:pt>
                <c:pt idx="499">
                  <c:v>20.791666666666668</c:v>
                </c:pt>
                <c:pt idx="500">
                  <c:v>20.833333333333332</c:v>
                </c:pt>
                <c:pt idx="501">
                  <c:v>20.875</c:v>
                </c:pt>
                <c:pt idx="502">
                  <c:v>20.916666666666668</c:v>
                </c:pt>
                <c:pt idx="503">
                  <c:v>20.958333333333332</c:v>
                </c:pt>
                <c:pt idx="504">
                  <c:v>21</c:v>
                </c:pt>
                <c:pt idx="505">
                  <c:v>21.041666666666668</c:v>
                </c:pt>
                <c:pt idx="506">
                  <c:v>21.083333333333332</c:v>
                </c:pt>
                <c:pt idx="507">
                  <c:v>21.125</c:v>
                </c:pt>
                <c:pt idx="508">
                  <c:v>21.166666666666668</c:v>
                </c:pt>
                <c:pt idx="509">
                  <c:v>21.208333333333332</c:v>
                </c:pt>
                <c:pt idx="510">
                  <c:v>21.25</c:v>
                </c:pt>
                <c:pt idx="511">
                  <c:v>21.291666666666668</c:v>
                </c:pt>
                <c:pt idx="512">
                  <c:v>21.333333333333332</c:v>
                </c:pt>
                <c:pt idx="513">
                  <c:v>21.375</c:v>
                </c:pt>
                <c:pt idx="514">
                  <c:v>21.416666666666668</c:v>
                </c:pt>
                <c:pt idx="515">
                  <c:v>21.458333333333332</c:v>
                </c:pt>
                <c:pt idx="516">
                  <c:v>21.5</c:v>
                </c:pt>
                <c:pt idx="517">
                  <c:v>21.541666666666668</c:v>
                </c:pt>
                <c:pt idx="518">
                  <c:v>21.583333333333332</c:v>
                </c:pt>
                <c:pt idx="519">
                  <c:v>21.625</c:v>
                </c:pt>
                <c:pt idx="520">
                  <c:v>21.666666666666668</c:v>
                </c:pt>
                <c:pt idx="521">
                  <c:v>21.708333333333332</c:v>
                </c:pt>
                <c:pt idx="522">
                  <c:v>21.75</c:v>
                </c:pt>
                <c:pt idx="523">
                  <c:v>21.791666666666668</c:v>
                </c:pt>
                <c:pt idx="524">
                  <c:v>21.833333333333332</c:v>
                </c:pt>
                <c:pt idx="525">
                  <c:v>21.875</c:v>
                </c:pt>
                <c:pt idx="526">
                  <c:v>21.916666666666668</c:v>
                </c:pt>
                <c:pt idx="527">
                  <c:v>21.958333333333332</c:v>
                </c:pt>
                <c:pt idx="528">
                  <c:v>22</c:v>
                </c:pt>
                <c:pt idx="529">
                  <c:v>22.041666666666668</c:v>
                </c:pt>
                <c:pt idx="530">
                  <c:v>22.083333333333332</c:v>
                </c:pt>
                <c:pt idx="531">
                  <c:v>22.125</c:v>
                </c:pt>
                <c:pt idx="532">
                  <c:v>22.166666666666668</c:v>
                </c:pt>
                <c:pt idx="533">
                  <c:v>22.208333333333332</c:v>
                </c:pt>
                <c:pt idx="534">
                  <c:v>22.25</c:v>
                </c:pt>
                <c:pt idx="535">
                  <c:v>22.291666666666668</c:v>
                </c:pt>
                <c:pt idx="536">
                  <c:v>22.333333333333332</c:v>
                </c:pt>
                <c:pt idx="537">
                  <c:v>22.375</c:v>
                </c:pt>
                <c:pt idx="538">
                  <c:v>22.416666666666668</c:v>
                </c:pt>
                <c:pt idx="539">
                  <c:v>22.458333333333332</c:v>
                </c:pt>
                <c:pt idx="540">
                  <c:v>22.5</c:v>
                </c:pt>
                <c:pt idx="541">
                  <c:v>22.541666666666668</c:v>
                </c:pt>
                <c:pt idx="542">
                  <c:v>22.583333333333332</c:v>
                </c:pt>
                <c:pt idx="543">
                  <c:v>22.625</c:v>
                </c:pt>
                <c:pt idx="544">
                  <c:v>22.666666666666668</c:v>
                </c:pt>
                <c:pt idx="545">
                  <c:v>22.708333333333332</c:v>
                </c:pt>
                <c:pt idx="546">
                  <c:v>22.75</c:v>
                </c:pt>
                <c:pt idx="547">
                  <c:v>22.791666666666668</c:v>
                </c:pt>
                <c:pt idx="548">
                  <c:v>22.833333333333332</c:v>
                </c:pt>
                <c:pt idx="549">
                  <c:v>22.875</c:v>
                </c:pt>
                <c:pt idx="550">
                  <c:v>22.916666666666668</c:v>
                </c:pt>
                <c:pt idx="551">
                  <c:v>22.958333333333332</c:v>
                </c:pt>
                <c:pt idx="552">
                  <c:v>23</c:v>
                </c:pt>
                <c:pt idx="553">
                  <c:v>23.041666666666668</c:v>
                </c:pt>
                <c:pt idx="554">
                  <c:v>23.083333333333332</c:v>
                </c:pt>
                <c:pt idx="555">
                  <c:v>23.125</c:v>
                </c:pt>
                <c:pt idx="556">
                  <c:v>23.166666666666668</c:v>
                </c:pt>
                <c:pt idx="557">
                  <c:v>23.208333333333332</c:v>
                </c:pt>
                <c:pt idx="558">
                  <c:v>23.25</c:v>
                </c:pt>
                <c:pt idx="559">
                  <c:v>23.291666666666668</c:v>
                </c:pt>
                <c:pt idx="560">
                  <c:v>23.333333333333332</c:v>
                </c:pt>
                <c:pt idx="561">
                  <c:v>23.375</c:v>
                </c:pt>
                <c:pt idx="562">
                  <c:v>23.416666666666668</c:v>
                </c:pt>
                <c:pt idx="563">
                  <c:v>23.458333333333332</c:v>
                </c:pt>
                <c:pt idx="564">
                  <c:v>23.5</c:v>
                </c:pt>
                <c:pt idx="565">
                  <c:v>23.541666666666668</c:v>
                </c:pt>
                <c:pt idx="566">
                  <c:v>23.583333333333332</c:v>
                </c:pt>
                <c:pt idx="567">
                  <c:v>23.625</c:v>
                </c:pt>
                <c:pt idx="568">
                  <c:v>23.666666666666668</c:v>
                </c:pt>
                <c:pt idx="569">
                  <c:v>23.708333333333332</c:v>
                </c:pt>
                <c:pt idx="570">
                  <c:v>23.75</c:v>
                </c:pt>
                <c:pt idx="571">
                  <c:v>23.791666666666668</c:v>
                </c:pt>
                <c:pt idx="572">
                  <c:v>23.833333333333332</c:v>
                </c:pt>
                <c:pt idx="573">
                  <c:v>23.875</c:v>
                </c:pt>
                <c:pt idx="574">
                  <c:v>23.916666666666668</c:v>
                </c:pt>
                <c:pt idx="575">
                  <c:v>23.958333333333332</c:v>
                </c:pt>
                <c:pt idx="576">
                  <c:v>24</c:v>
                </c:pt>
                <c:pt idx="577">
                  <c:v>24.041666666666668</c:v>
                </c:pt>
                <c:pt idx="578">
                  <c:v>24.083333333333332</c:v>
                </c:pt>
                <c:pt idx="579">
                  <c:v>24.125</c:v>
                </c:pt>
                <c:pt idx="580">
                  <c:v>24.166666666666668</c:v>
                </c:pt>
                <c:pt idx="581">
                  <c:v>24.208333333333332</c:v>
                </c:pt>
                <c:pt idx="582">
                  <c:v>24.25</c:v>
                </c:pt>
                <c:pt idx="583">
                  <c:v>24.291666666666668</c:v>
                </c:pt>
                <c:pt idx="584">
                  <c:v>24.333333333333332</c:v>
                </c:pt>
                <c:pt idx="585">
                  <c:v>24.375</c:v>
                </c:pt>
                <c:pt idx="586">
                  <c:v>24.416666666666668</c:v>
                </c:pt>
                <c:pt idx="587">
                  <c:v>24.458333333333332</c:v>
                </c:pt>
                <c:pt idx="588">
                  <c:v>24.5</c:v>
                </c:pt>
                <c:pt idx="589">
                  <c:v>24.541666666666668</c:v>
                </c:pt>
                <c:pt idx="590">
                  <c:v>24.583333333333332</c:v>
                </c:pt>
                <c:pt idx="591">
                  <c:v>24.625</c:v>
                </c:pt>
                <c:pt idx="592">
                  <c:v>24.666666666666668</c:v>
                </c:pt>
                <c:pt idx="593">
                  <c:v>24.708333333333332</c:v>
                </c:pt>
                <c:pt idx="594">
                  <c:v>24.75</c:v>
                </c:pt>
                <c:pt idx="595">
                  <c:v>24.791666666666668</c:v>
                </c:pt>
                <c:pt idx="596">
                  <c:v>24.833333333333332</c:v>
                </c:pt>
                <c:pt idx="597">
                  <c:v>24.875</c:v>
                </c:pt>
                <c:pt idx="598">
                  <c:v>24.916666666666668</c:v>
                </c:pt>
                <c:pt idx="599">
                  <c:v>24.958333333333332</c:v>
                </c:pt>
                <c:pt idx="600">
                  <c:v>25</c:v>
                </c:pt>
                <c:pt idx="601">
                  <c:v>25.041666666666668</c:v>
                </c:pt>
                <c:pt idx="602">
                  <c:v>25.083333333333332</c:v>
                </c:pt>
                <c:pt idx="603">
                  <c:v>25.125</c:v>
                </c:pt>
                <c:pt idx="604">
                  <c:v>25.166666666666668</c:v>
                </c:pt>
                <c:pt idx="605">
                  <c:v>25.208333333333332</c:v>
                </c:pt>
                <c:pt idx="606">
                  <c:v>25.25</c:v>
                </c:pt>
                <c:pt idx="607">
                  <c:v>25.291666666666668</c:v>
                </c:pt>
                <c:pt idx="608">
                  <c:v>25.333333333333332</c:v>
                </c:pt>
                <c:pt idx="609">
                  <c:v>25.375</c:v>
                </c:pt>
                <c:pt idx="610">
                  <c:v>25.416666666666668</c:v>
                </c:pt>
                <c:pt idx="611">
                  <c:v>25.458333333333332</c:v>
                </c:pt>
                <c:pt idx="612">
                  <c:v>25.5</c:v>
                </c:pt>
                <c:pt idx="613">
                  <c:v>25.541666666666668</c:v>
                </c:pt>
                <c:pt idx="614">
                  <c:v>25.583333333333332</c:v>
                </c:pt>
                <c:pt idx="615">
                  <c:v>25.625</c:v>
                </c:pt>
                <c:pt idx="616">
                  <c:v>25.666666666666668</c:v>
                </c:pt>
                <c:pt idx="617">
                  <c:v>25.708333333333332</c:v>
                </c:pt>
                <c:pt idx="618">
                  <c:v>25.75</c:v>
                </c:pt>
                <c:pt idx="619">
                  <c:v>25.791666666666668</c:v>
                </c:pt>
                <c:pt idx="620">
                  <c:v>25.833333333333332</c:v>
                </c:pt>
                <c:pt idx="621">
                  <c:v>25.875</c:v>
                </c:pt>
                <c:pt idx="622">
                  <c:v>25.916666666666668</c:v>
                </c:pt>
                <c:pt idx="623">
                  <c:v>25.958333333333332</c:v>
                </c:pt>
                <c:pt idx="624">
                  <c:v>26</c:v>
                </c:pt>
                <c:pt idx="625">
                  <c:v>26.041666666666668</c:v>
                </c:pt>
                <c:pt idx="626">
                  <c:v>26.083333333333332</c:v>
                </c:pt>
                <c:pt idx="627">
                  <c:v>26.125</c:v>
                </c:pt>
                <c:pt idx="628">
                  <c:v>26.166666666666668</c:v>
                </c:pt>
                <c:pt idx="629">
                  <c:v>26.208333333333332</c:v>
                </c:pt>
                <c:pt idx="630">
                  <c:v>26.25</c:v>
                </c:pt>
                <c:pt idx="631">
                  <c:v>26.291666666666668</c:v>
                </c:pt>
                <c:pt idx="632">
                  <c:v>26.333333333333332</c:v>
                </c:pt>
                <c:pt idx="633">
                  <c:v>26.375</c:v>
                </c:pt>
                <c:pt idx="634">
                  <c:v>26.416666666666668</c:v>
                </c:pt>
                <c:pt idx="635">
                  <c:v>26.458333333333332</c:v>
                </c:pt>
                <c:pt idx="636">
                  <c:v>26.5</c:v>
                </c:pt>
                <c:pt idx="637">
                  <c:v>26.541666666666668</c:v>
                </c:pt>
                <c:pt idx="638">
                  <c:v>26.583333333333332</c:v>
                </c:pt>
                <c:pt idx="639">
                  <c:v>26.625</c:v>
                </c:pt>
                <c:pt idx="640">
                  <c:v>26.666666666666668</c:v>
                </c:pt>
                <c:pt idx="641">
                  <c:v>26.708333333333332</c:v>
                </c:pt>
                <c:pt idx="642">
                  <c:v>26.75</c:v>
                </c:pt>
                <c:pt idx="643">
                  <c:v>26.791666666666668</c:v>
                </c:pt>
                <c:pt idx="644">
                  <c:v>26.833333333333332</c:v>
                </c:pt>
                <c:pt idx="645">
                  <c:v>26.875</c:v>
                </c:pt>
                <c:pt idx="646">
                  <c:v>26.916666666666668</c:v>
                </c:pt>
                <c:pt idx="647">
                  <c:v>26.958333333333332</c:v>
                </c:pt>
                <c:pt idx="648">
                  <c:v>27</c:v>
                </c:pt>
                <c:pt idx="649">
                  <c:v>27.041666666666668</c:v>
                </c:pt>
                <c:pt idx="650">
                  <c:v>27.083333333333332</c:v>
                </c:pt>
                <c:pt idx="651">
                  <c:v>27.125</c:v>
                </c:pt>
                <c:pt idx="652">
                  <c:v>27.166666666666668</c:v>
                </c:pt>
                <c:pt idx="653">
                  <c:v>27.208333333333332</c:v>
                </c:pt>
                <c:pt idx="654">
                  <c:v>27.25</c:v>
                </c:pt>
                <c:pt idx="655">
                  <c:v>27.291666666666668</c:v>
                </c:pt>
                <c:pt idx="656">
                  <c:v>27.333333333333332</c:v>
                </c:pt>
                <c:pt idx="657">
                  <c:v>27.375</c:v>
                </c:pt>
                <c:pt idx="658">
                  <c:v>27.416666666666668</c:v>
                </c:pt>
                <c:pt idx="659">
                  <c:v>27.458333333333332</c:v>
                </c:pt>
                <c:pt idx="660">
                  <c:v>27.5</c:v>
                </c:pt>
                <c:pt idx="661">
                  <c:v>27.541666666666668</c:v>
                </c:pt>
                <c:pt idx="662">
                  <c:v>27.583333333333332</c:v>
                </c:pt>
                <c:pt idx="663">
                  <c:v>27.625</c:v>
                </c:pt>
                <c:pt idx="664">
                  <c:v>27.666666666666668</c:v>
                </c:pt>
                <c:pt idx="665">
                  <c:v>27.708333333333332</c:v>
                </c:pt>
                <c:pt idx="666">
                  <c:v>27.75</c:v>
                </c:pt>
                <c:pt idx="667">
                  <c:v>27.791666666666668</c:v>
                </c:pt>
              </c:numCache>
            </c:numRef>
          </c:xVal>
          <c:yVal>
            <c:numRef>
              <c:f>'p comp stirred vs unstirred'!$E$5:$E$673</c:f>
              <c:numCache>
                <c:formatCode>General</c:formatCode>
                <c:ptCount val="669"/>
                <c:pt idx="0">
                  <c:v>0</c:v>
                </c:pt>
                <c:pt idx="1">
                  <c:v>99</c:v>
                </c:pt>
                <c:pt idx="2">
                  <c:v>151</c:v>
                </c:pt>
                <c:pt idx="3">
                  <c:v>189.33333333333334</c:v>
                </c:pt>
                <c:pt idx="4">
                  <c:v>214.33333333333334</c:v>
                </c:pt>
                <c:pt idx="5">
                  <c:v>230.66666666666666</c:v>
                </c:pt>
                <c:pt idx="6">
                  <c:v>240.33333333333334</c:v>
                </c:pt>
                <c:pt idx="7">
                  <c:v>247.33333333333334</c:v>
                </c:pt>
                <c:pt idx="8">
                  <c:v>253.33333333333334</c:v>
                </c:pt>
                <c:pt idx="9">
                  <c:v>256.66666666666669</c:v>
                </c:pt>
                <c:pt idx="10">
                  <c:v>261.33333333333331</c:v>
                </c:pt>
                <c:pt idx="11">
                  <c:v>264</c:v>
                </c:pt>
                <c:pt idx="12">
                  <c:v>268</c:v>
                </c:pt>
                <c:pt idx="13">
                  <c:v>270.66666666666669</c:v>
                </c:pt>
                <c:pt idx="14">
                  <c:v>274</c:v>
                </c:pt>
                <c:pt idx="15">
                  <c:v>277.66666666666669</c:v>
                </c:pt>
                <c:pt idx="16">
                  <c:v>281.33333333333331</c:v>
                </c:pt>
                <c:pt idx="17">
                  <c:v>283.66666666666669</c:v>
                </c:pt>
                <c:pt idx="18">
                  <c:v>286.66666666666669</c:v>
                </c:pt>
                <c:pt idx="19">
                  <c:v>292.66666666666669</c:v>
                </c:pt>
                <c:pt idx="20">
                  <c:v>305</c:v>
                </c:pt>
                <c:pt idx="21">
                  <c:v>313.66666666666669</c:v>
                </c:pt>
                <c:pt idx="22">
                  <c:v>319.66666666666669</c:v>
                </c:pt>
                <c:pt idx="23">
                  <c:v>328.66666666666669</c:v>
                </c:pt>
                <c:pt idx="24">
                  <c:v>338.66666666666669</c:v>
                </c:pt>
                <c:pt idx="25">
                  <c:v>346.66666666666669</c:v>
                </c:pt>
                <c:pt idx="26">
                  <c:v>353</c:v>
                </c:pt>
                <c:pt idx="27">
                  <c:v>356.66666666666669</c:v>
                </c:pt>
                <c:pt idx="28">
                  <c:v>362.33333333333331</c:v>
                </c:pt>
                <c:pt idx="29">
                  <c:v>367.33333333333331</c:v>
                </c:pt>
                <c:pt idx="30">
                  <c:v>371.66666666666669</c:v>
                </c:pt>
                <c:pt idx="31">
                  <c:v>375</c:v>
                </c:pt>
                <c:pt idx="32">
                  <c:v>378.33333333333331</c:v>
                </c:pt>
                <c:pt idx="33">
                  <c:v>381</c:v>
                </c:pt>
                <c:pt idx="34">
                  <c:v>383.66666666666669</c:v>
                </c:pt>
                <c:pt idx="35">
                  <c:v>385.66666666666669</c:v>
                </c:pt>
                <c:pt idx="36">
                  <c:v>387.66666666666669</c:v>
                </c:pt>
                <c:pt idx="37">
                  <c:v>389.66666666666669</c:v>
                </c:pt>
                <c:pt idx="38">
                  <c:v>391.66666666666669</c:v>
                </c:pt>
                <c:pt idx="39">
                  <c:v>393.66666666666669</c:v>
                </c:pt>
                <c:pt idx="40">
                  <c:v>395.66666666666669</c:v>
                </c:pt>
                <c:pt idx="41">
                  <c:v>397.33333333333331</c:v>
                </c:pt>
                <c:pt idx="42">
                  <c:v>400</c:v>
                </c:pt>
                <c:pt idx="43">
                  <c:v>402.66666666666669</c:v>
                </c:pt>
                <c:pt idx="44">
                  <c:v>405</c:v>
                </c:pt>
                <c:pt idx="45">
                  <c:v>408.66666666666669</c:v>
                </c:pt>
                <c:pt idx="46">
                  <c:v>412.66666666666669</c:v>
                </c:pt>
                <c:pt idx="47">
                  <c:v>416</c:v>
                </c:pt>
                <c:pt idx="48">
                  <c:v>422</c:v>
                </c:pt>
                <c:pt idx="49">
                  <c:v>430</c:v>
                </c:pt>
                <c:pt idx="50">
                  <c:v>438.66666666666669</c:v>
                </c:pt>
                <c:pt idx="51">
                  <c:v>445.33333333333331</c:v>
                </c:pt>
                <c:pt idx="52">
                  <c:v>446.66666666666669</c:v>
                </c:pt>
                <c:pt idx="53">
                  <c:v>447</c:v>
                </c:pt>
                <c:pt idx="54">
                  <c:v>447.66666666666669</c:v>
                </c:pt>
                <c:pt idx="55">
                  <c:v>448.66666666666669</c:v>
                </c:pt>
                <c:pt idx="56">
                  <c:v>448.66666666666669</c:v>
                </c:pt>
                <c:pt idx="57">
                  <c:v>450.33333333333331</c:v>
                </c:pt>
                <c:pt idx="58">
                  <c:v>451</c:v>
                </c:pt>
                <c:pt idx="59">
                  <c:v>452</c:v>
                </c:pt>
                <c:pt idx="60">
                  <c:v>453</c:v>
                </c:pt>
                <c:pt idx="61">
                  <c:v>454.33333333333331</c:v>
                </c:pt>
                <c:pt idx="62">
                  <c:v>455.66666666666669</c:v>
                </c:pt>
                <c:pt idx="63">
                  <c:v>457</c:v>
                </c:pt>
                <c:pt idx="64">
                  <c:v>458.33333333333331</c:v>
                </c:pt>
                <c:pt idx="65">
                  <c:v>460</c:v>
                </c:pt>
                <c:pt idx="66">
                  <c:v>461.66666666666669</c:v>
                </c:pt>
                <c:pt idx="67">
                  <c:v>460.66666666666669</c:v>
                </c:pt>
                <c:pt idx="68">
                  <c:v>461</c:v>
                </c:pt>
                <c:pt idx="69">
                  <c:v>462.66666666666669</c:v>
                </c:pt>
                <c:pt idx="70">
                  <c:v>465.33333333333331</c:v>
                </c:pt>
                <c:pt idx="71">
                  <c:v>467.33333333333331</c:v>
                </c:pt>
                <c:pt idx="72">
                  <c:v>469.66666666666669</c:v>
                </c:pt>
                <c:pt idx="73">
                  <c:v>475.33333333333331</c:v>
                </c:pt>
                <c:pt idx="74">
                  <c:v>485.33333333333331</c:v>
                </c:pt>
                <c:pt idx="75">
                  <c:v>489.66666666666669</c:v>
                </c:pt>
                <c:pt idx="76">
                  <c:v>494.66666666666669</c:v>
                </c:pt>
                <c:pt idx="77">
                  <c:v>499</c:v>
                </c:pt>
                <c:pt idx="78">
                  <c:v>502.33333333333331</c:v>
                </c:pt>
                <c:pt idx="79">
                  <c:v>505</c:v>
                </c:pt>
                <c:pt idx="80">
                  <c:v>507.33333333333331</c:v>
                </c:pt>
                <c:pt idx="81">
                  <c:v>509</c:v>
                </c:pt>
                <c:pt idx="82">
                  <c:v>510.66666666666669</c:v>
                </c:pt>
                <c:pt idx="83">
                  <c:v>512</c:v>
                </c:pt>
                <c:pt idx="84">
                  <c:v>513.33333333333337</c:v>
                </c:pt>
                <c:pt idx="85">
                  <c:v>514.33333333333337</c:v>
                </c:pt>
                <c:pt idx="86">
                  <c:v>516</c:v>
                </c:pt>
                <c:pt idx="87">
                  <c:v>517.33333333333337</c:v>
                </c:pt>
                <c:pt idx="88">
                  <c:v>518.33333333333337</c:v>
                </c:pt>
                <c:pt idx="89">
                  <c:v>520.33333333333337</c:v>
                </c:pt>
                <c:pt idx="90">
                  <c:v>521.33333333333337</c:v>
                </c:pt>
                <c:pt idx="91">
                  <c:v>523.33333333333337</c:v>
                </c:pt>
                <c:pt idx="92">
                  <c:v>525.33333333333337</c:v>
                </c:pt>
                <c:pt idx="93">
                  <c:v>527.33333333333337</c:v>
                </c:pt>
                <c:pt idx="94">
                  <c:v>531.33333333333337</c:v>
                </c:pt>
                <c:pt idx="95">
                  <c:v>535.66666666666663</c:v>
                </c:pt>
                <c:pt idx="96">
                  <c:v>539</c:v>
                </c:pt>
                <c:pt idx="97">
                  <c:v>539</c:v>
                </c:pt>
                <c:pt idx="98">
                  <c:v>542.33333333333337</c:v>
                </c:pt>
                <c:pt idx="99">
                  <c:v>546.33333333333337</c:v>
                </c:pt>
                <c:pt idx="100">
                  <c:v>550</c:v>
                </c:pt>
                <c:pt idx="101">
                  <c:v>553.66666666666663</c:v>
                </c:pt>
                <c:pt idx="102">
                  <c:v>555.66666666666663</c:v>
                </c:pt>
                <c:pt idx="103">
                  <c:v>558.33333333333337</c:v>
                </c:pt>
                <c:pt idx="104">
                  <c:v>560.33333333333337</c:v>
                </c:pt>
                <c:pt idx="105">
                  <c:v>562.33333333333337</c:v>
                </c:pt>
                <c:pt idx="106">
                  <c:v>564.33333333333337</c:v>
                </c:pt>
                <c:pt idx="107">
                  <c:v>565.33333333333337</c:v>
                </c:pt>
                <c:pt idx="108">
                  <c:v>567.33333333333337</c:v>
                </c:pt>
                <c:pt idx="109">
                  <c:v>568</c:v>
                </c:pt>
                <c:pt idx="110">
                  <c:v>569.33333333333337</c:v>
                </c:pt>
                <c:pt idx="111">
                  <c:v>570</c:v>
                </c:pt>
                <c:pt idx="112">
                  <c:v>571</c:v>
                </c:pt>
                <c:pt idx="113">
                  <c:v>571.66666666666663</c:v>
                </c:pt>
                <c:pt idx="114">
                  <c:v>573</c:v>
                </c:pt>
                <c:pt idx="115">
                  <c:v>574.33333333333337</c:v>
                </c:pt>
                <c:pt idx="116">
                  <c:v>575.66666666666663</c:v>
                </c:pt>
                <c:pt idx="117">
                  <c:v>577.33333333333337</c:v>
                </c:pt>
                <c:pt idx="118">
                  <c:v>580</c:v>
                </c:pt>
                <c:pt idx="119">
                  <c:v>582</c:v>
                </c:pt>
                <c:pt idx="120">
                  <c:v>584.33333333333337</c:v>
                </c:pt>
                <c:pt idx="121">
                  <c:v>588</c:v>
                </c:pt>
                <c:pt idx="122">
                  <c:v>591</c:v>
                </c:pt>
                <c:pt idx="123">
                  <c:v>593.66666666666663</c:v>
                </c:pt>
                <c:pt idx="124">
                  <c:v>596.33333333333337</c:v>
                </c:pt>
                <c:pt idx="125">
                  <c:v>598</c:v>
                </c:pt>
                <c:pt idx="126">
                  <c:v>599.66666666666663</c:v>
                </c:pt>
                <c:pt idx="127">
                  <c:v>600.33333333333337</c:v>
                </c:pt>
                <c:pt idx="128">
                  <c:v>601.33333333333337</c:v>
                </c:pt>
                <c:pt idx="129">
                  <c:v>601.66666666666663</c:v>
                </c:pt>
                <c:pt idx="130">
                  <c:v>602.66666666666663</c:v>
                </c:pt>
                <c:pt idx="131">
                  <c:v>603.66666666666663</c:v>
                </c:pt>
                <c:pt idx="132">
                  <c:v>604.33333333333337</c:v>
                </c:pt>
                <c:pt idx="133">
                  <c:v>604.66666666666663</c:v>
                </c:pt>
                <c:pt idx="134">
                  <c:v>605.33333333333337</c:v>
                </c:pt>
                <c:pt idx="135">
                  <c:v>606</c:v>
                </c:pt>
                <c:pt idx="136">
                  <c:v>606.66666666666663</c:v>
                </c:pt>
                <c:pt idx="137">
                  <c:v>607.66666666666663</c:v>
                </c:pt>
                <c:pt idx="138">
                  <c:v>609</c:v>
                </c:pt>
                <c:pt idx="139">
                  <c:v>610</c:v>
                </c:pt>
                <c:pt idx="140">
                  <c:v>611.33333333333337</c:v>
                </c:pt>
                <c:pt idx="141">
                  <c:v>613.66666666666663</c:v>
                </c:pt>
                <c:pt idx="142">
                  <c:v>616</c:v>
                </c:pt>
                <c:pt idx="143">
                  <c:v>619</c:v>
                </c:pt>
                <c:pt idx="144">
                  <c:v>621.33333333333337</c:v>
                </c:pt>
                <c:pt idx="145">
                  <c:v>625.66666666666663</c:v>
                </c:pt>
                <c:pt idx="146">
                  <c:v>629</c:v>
                </c:pt>
                <c:pt idx="147">
                  <c:v>632.33333333333337</c:v>
                </c:pt>
                <c:pt idx="148">
                  <c:v>635.33333333333337</c:v>
                </c:pt>
                <c:pt idx="149">
                  <c:v>637.66666666666663</c:v>
                </c:pt>
                <c:pt idx="150">
                  <c:v>640</c:v>
                </c:pt>
                <c:pt idx="151">
                  <c:v>641.33333333333337</c:v>
                </c:pt>
                <c:pt idx="152">
                  <c:v>643</c:v>
                </c:pt>
                <c:pt idx="153">
                  <c:v>644.33333333333337</c:v>
                </c:pt>
                <c:pt idx="154">
                  <c:v>644.66666666666663</c:v>
                </c:pt>
                <c:pt idx="155">
                  <c:v>646.33333333333337</c:v>
                </c:pt>
                <c:pt idx="156">
                  <c:v>647.33333333333337</c:v>
                </c:pt>
                <c:pt idx="157">
                  <c:v>648</c:v>
                </c:pt>
                <c:pt idx="158">
                  <c:v>649.33333333333337</c:v>
                </c:pt>
                <c:pt idx="159">
                  <c:v>650.33333333333337</c:v>
                </c:pt>
                <c:pt idx="160">
                  <c:v>651.66666666666663</c:v>
                </c:pt>
                <c:pt idx="161">
                  <c:v>653</c:v>
                </c:pt>
                <c:pt idx="162">
                  <c:v>654.33333333333337</c:v>
                </c:pt>
                <c:pt idx="163">
                  <c:v>656.33333333333337</c:v>
                </c:pt>
                <c:pt idx="164">
                  <c:v>659.33333333333337</c:v>
                </c:pt>
                <c:pt idx="165">
                  <c:v>661.66666666666663</c:v>
                </c:pt>
                <c:pt idx="166">
                  <c:v>663</c:v>
                </c:pt>
                <c:pt idx="167">
                  <c:v>666</c:v>
                </c:pt>
                <c:pt idx="168">
                  <c:v>667.66666666666663</c:v>
                </c:pt>
                <c:pt idx="169">
                  <c:v>684.33333333333337</c:v>
                </c:pt>
                <c:pt idx="170">
                  <c:v>691</c:v>
                </c:pt>
                <c:pt idx="171">
                  <c:v>696.66666666666663</c:v>
                </c:pt>
                <c:pt idx="172">
                  <c:v>701.33333333333337</c:v>
                </c:pt>
                <c:pt idx="173">
                  <c:v>705</c:v>
                </c:pt>
                <c:pt idx="174">
                  <c:v>708</c:v>
                </c:pt>
                <c:pt idx="175">
                  <c:v>710.33333333333337</c:v>
                </c:pt>
                <c:pt idx="176">
                  <c:v>712.66666666666663</c:v>
                </c:pt>
                <c:pt idx="177">
                  <c:v>714.66666666666663</c:v>
                </c:pt>
                <c:pt idx="178">
                  <c:v>716.33333333333337</c:v>
                </c:pt>
                <c:pt idx="179">
                  <c:v>717.66666666666663</c:v>
                </c:pt>
                <c:pt idx="180">
                  <c:v>719.33333333333337</c:v>
                </c:pt>
                <c:pt idx="181">
                  <c:v>720.33333333333337</c:v>
                </c:pt>
                <c:pt idx="182">
                  <c:v>721.66666666666663</c:v>
                </c:pt>
                <c:pt idx="183">
                  <c:v>723</c:v>
                </c:pt>
                <c:pt idx="184">
                  <c:v>723.33333333333337</c:v>
                </c:pt>
                <c:pt idx="185">
                  <c:v>724.33333333333337</c:v>
                </c:pt>
                <c:pt idx="186">
                  <c:v>725.33333333333337</c:v>
                </c:pt>
                <c:pt idx="187">
                  <c:v>726.33333333333337</c:v>
                </c:pt>
                <c:pt idx="188">
                  <c:v>727.33333333333337</c:v>
                </c:pt>
                <c:pt idx="189">
                  <c:v>729</c:v>
                </c:pt>
                <c:pt idx="190">
                  <c:v>729.66666666666663</c:v>
                </c:pt>
                <c:pt idx="191">
                  <c:v>731.66666666666663</c:v>
                </c:pt>
                <c:pt idx="192">
                  <c:v>734.66666666666663</c:v>
                </c:pt>
                <c:pt idx="193">
                  <c:v>737.33333333333337</c:v>
                </c:pt>
                <c:pt idx="194">
                  <c:v>740</c:v>
                </c:pt>
                <c:pt idx="195">
                  <c:v>742.33333333333337</c:v>
                </c:pt>
                <c:pt idx="196">
                  <c:v>744.66666666666663</c:v>
                </c:pt>
                <c:pt idx="197">
                  <c:v>746.66666666666663</c:v>
                </c:pt>
                <c:pt idx="198">
                  <c:v>747.66666666666663</c:v>
                </c:pt>
                <c:pt idx="199">
                  <c:v>748.66666666666663</c:v>
                </c:pt>
                <c:pt idx="200">
                  <c:v>749.66666666666663</c:v>
                </c:pt>
                <c:pt idx="201">
                  <c:v>750</c:v>
                </c:pt>
                <c:pt idx="202">
                  <c:v>750.33333333333337</c:v>
                </c:pt>
                <c:pt idx="203">
                  <c:v>751.33333333333337</c:v>
                </c:pt>
                <c:pt idx="204">
                  <c:v>752</c:v>
                </c:pt>
                <c:pt idx="205">
                  <c:v>752.33333333333337</c:v>
                </c:pt>
                <c:pt idx="206">
                  <c:v>753.33333333333337</c:v>
                </c:pt>
                <c:pt idx="207">
                  <c:v>754</c:v>
                </c:pt>
                <c:pt idx="208">
                  <c:v>754.33333333333337</c:v>
                </c:pt>
                <c:pt idx="209">
                  <c:v>755</c:v>
                </c:pt>
                <c:pt idx="210">
                  <c:v>756</c:v>
                </c:pt>
                <c:pt idx="211">
                  <c:v>758</c:v>
                </c:pt>
                <c:pt idx="212">
                  <c:v>758.66666666666663</c:v>
                </c:pt>
                <c:pt idx="213">
                  <c:v>760.33333333333337</c:v>
                </c:pt>
                <c:pt idx="214">
                  <c:v>762.66666666666663</c:v>
                </c:pt>
                <c:pt idx="215">
                  <c:v>763.66666666666663</c:v>
                </c:pt>
                <c:pt idx="216">
                  <c:v>766</c:v>
                </c:pt>
                <c:pt idx="217">
                  <c:v>768</c:v>
                </c:pt>
                <c:pt idx="218">
                  <c:v>769.66666666666663</c:v>
                </c:pt>
                <c:pt idx="219">
                  <c:v>771</c:v>
                </c:pt>
                <c:pt idx="220">
                  <c:v>773</c:v>
                </c:pt>
                <c:pt idx="221">
                  <c:v>775</c:v>
                </c:pt>
                <c:pt idx="222">
                  <c:v>776.33333333333337</c:v>
                </c:pt>
                <c:pt idx="223">
                  <c:v>777.33333333333337</c:v>
                </c:pt>
                <c:pt idx="224">
                  <c:v>778.33333333333337</c:v>
                </c:pt>
                <c:pt idx="225">
                  <c:v>779</c:v>
                </c:pt>
                <c:pt idx="226">
                  <c:v>779.66666666666663</c:v>
                </c:pt>
                <c:pt idx="227">
                  <c:v>780.33333333333337</c:v>
                </c:pt>
                <c:pt idx="228">
                  <c:v>781</c:v>
                </c:pt>
                <c:pt idx="229">
                  <c:v>781.66666666666663</c:v>
                </c:pt>
                <c:pt idx="230">
                  <c:v>782.33333333333337</c:v>
                </c:pt>
                <c:pt idx="231">
                  <c:v>782.66666666666663</c:v>
                </c:pt>
                <c:pt idx="232">
                  <c:v>783.66666666666663</c:v>
                </c:pt>
                <c:pt idx="233">
                  <c:v>785</c:v>
                </c:pt>
                <c:pt idx="234">
                  <c:v>785</c:v>
                </c:pt>
                <c:pt idx="235">
                  <c:v>786.33333333333337</c:v>
                </c:pt>
                <c:pt idx="236">
                  <c:v>788</c:v>
                </c:pt>
                <c:pt idx="237">
                  <c:v>789.66666666666663</c:v>
                </c:pt>
                <c:pt idx="238">
                  <c:v>791.66666666666663</c:v>
                </c:pt>
                <c:pt idx="239">
                  <c:v>794</c:v>
                </c:pt>
                <c:pt idx="240">
                  <c:v>796.66666666666663</c:v>
                </c:pt>
                <c:pt idx="241">
                  <c:v>799.33333333333337</c:v>
                </c:pt>
                <c:pt idx="242">
                  <c:v>801.66666666666663</c:v>
                </c:pt>
                <c:pt idx="243">
                  <c:v>805.33333333333337</c:v>
                </c:pt>
                <c:pt idx="244">
                  <c:v>807</c:v>
                </c:pt>
                <c:pt idx="245">
                  <c:v>808.33333333333337</c:v>
                </c:pt>
                <c:pt idx="246">
                  <c:v>809.33333333333337</c:v>
                </c:pt>
                <c:pt idx="247">
                  <c:v>810.66666666666663</c:v>
                </c:pt>
                <c:pt idx="248">
                  <c:v>810.66666666666663</c:v>
                </c:pt>
                <c:pt idx="249">
                  <c:v>811.66666666666663</c:v>
                </c:pt>
                <c:pt idx="250">
                  <c:v>813</c:v>
                </c:pt>
                <c:pt idx="251">
                  <c:v>812.66666666666663</c:v>
                </c:pt>
                <c:pt idx="252">
                  <c:v>814</c:v>
                </c:pt>
                <c:pt idx="253">
                  <c:v>814.66666666666663</c:v>
                </c:pt>
                <c:pt idx="254">
                  <c:v>815.33333333333337</c:v>
                </c:pt>
                <c:pt idx="255">
                  <c:v>816</c:v>
                </c:pt>
                <c:pt idx="256">
                  <c:v>816.33333333333337</c:v>
                </c:pt>
                <c:pt idx="257">
                  <c:v>817</c:v>
                </c:pt>
                <c:pt idx="258">
                  <c:v>818</c:v>
                </c:pt>
                <c:pt idx="259">
                  <c:v>819.33333333333337</c:v>
                </c:pt>
                <c:pt idx="260">
                  <c:v>820.66666666666663</c:v>
                </c:pt>
                <c:pt idx="261">
                  <c:v>822.66666666666663</c:v>
                </c:pt>
                <c:pt idx="262">
                  <c:v>824.66666666666663</c:v>
                </c:pt>
                <c:pt idx="263">
                  <c:v>814</c:v>
                </c:pt>
                <c:pt idx="264">
                  <c:v>816.66666666666663</c:v>
                </c:pt>
                <c:pt idx="265">
                  <c:v>821.66666666666663</c:v>
                </c:pt>
                <c:pt idx="266">
                  <c:v>826.33333333333337</c:v>
                </c:pt>
                <c:pt idx="267">
                  <c:v>829.33333333333337</c:v>
                </c:pt>
                <c:pt idx="268">
                  <c:v>830.33333333333337</c:v>
                </c:pt>
                <c:pt idx="269">
                  <c:v>831.33333333333337</c:v>
                </c:pt>
                <c:pt idx="270">
                  <c:v>831.66666666666663</c:v>
                </c:pt>
                <c:pt idx="271">
                  <c:v>831.66666666666663</c:v>
                </c:pt>
                <c:pt idx="272">
                  <c:v>831.66666666666663</c:v>
                </c:pt>
                <c:pt idx="273">
                  <c:v>831.66666666666663</c:v>
                </c:pt>
                <c:pt idx="274">
                  <c:v>831.66666666666663</c:v>
                </c:pt>
                <c:pt idx="275">
                  <c:v>831.66666666666663</c:v>
                </c:pt>
                <c:pt idx="276">
                  <c:v>832.33333333333337</c:v>
                </c:pt>
                <c:pt idx="277">
                  <c:v>832.33333333333337</c:v>
                </c:pt>
                <c:pt idx="278">
                  <c:v>833</c:v>
                </c:pt>
                <c:pt idx="279">
                  <c:v>833.33333333333337</c:v>
                </c:pt>
                <c:pt idx="280">
                  <c:v>833.66666666666663</c:v>
                </c:pt>
                <c:pt idx="281">
                  <c:v>834.66666666666663</c:v>
                </c:pt>
                <c:pt idx="282">
                  <c:v>835</c:v>
                </c:pt>
                <c:pt idx="283">
                  <c:v>836.33333333333337</c:v>
                </c:pt>
                <c:pt idx="284">
                  <c:v>837</c:v>
                </c:pt>
                <c:pt idx="285">
                  <c:v>838</c:v>
                </c:pt>
                <c:pt idx="286">
                  <c:v>839.33333333333337</c:v>
                </c:pt>
                <c:pt idx="287">
                  <c:v>841</c:v>
                </c:pt>
                <c:pt idx="288">
                  <c:v>842.66666666666663</c:v>
                </c:pt>
                <c:pt idx="289">
                  <c:v>844</c:v>
                </c:pt>
                <c:pt idx="290">
                  <c:v>846</c:v>
                </c:pt>
                <c:pt idx="291">
                  <c:v>847</c:v>
                </c:pt>
                <c:pt idx="292">
                  <c:v>848.33333333333337</c:v>
                </c:pt>
                <c:pt idx="293">
                  <c:v>849.66666666666663</c:v>
                </c:pt>
                <c:pt idx="294">
                  <c:v>850.33333333333337</c:v>
                </c:pt>
                <c:pt idx="295">
                  <c:v>850.33333333333337</c:v>
                </c:pt>
                <c:pt idx="296">
                  <c:v>851.33333333333337</c:v>
                </c:pt>
                <c:pt idx="297">
                  <c:v>851.33333333333337</c:v>
                </c:pt>
                <c:pt idx="298">
                  <c:v>852</c:v>
                </c:pt>
                <c:pt idx="299">
                  <c:v>852.33333333333337</c:v>
                </c:pt>
                <c:pt idx="300">
                  <c:v>852</c:v>
                </c:pt>
                <c:pt idx="301">
                  <c:v>853</c:v>
                </c:pt>
                <c:pt idx="302">
                  <c:v>853.33333333333337</c:v>
                </c:pt>
                <c:pt idx="303">
                  <c:v>854</c:v>
                </c:pt>
                <c:pt idx="304">
                  <c:v>854.66666666666663</c:v>
                </c:pt>
                <c:pt idx="305">
                  <c:v>854.66666666666663</c:v>
                </c:pt>
                <c:pt idx="306">
                  <c:v>855.66666666666663</c:v>
                </c:pt>
                <c:pt idx="307">
                  <c:v>856.66666666666663</c:v>
                </c:pt>
                <c:pt idx="308">
                  <c:v>857.33333333333337</c:v>
                </c:pt>
                <c:pt idx="309">
                  <c:v>857.66666666666663</c:v>
                </c:pt>
                <c:pt idx="310">
                  <c:v>858.66666666666663</c:v>
                </c:pt>
                <c:pt idx="311">
                  <c:v>859.33333333333337</c:v>
                </c:pt>
                <c:pt idx="312">
                  <c:v>856.33333333333337</c:v>
                </c:pt>
                <c:pt idx="313">
                  <c:v>856.33333333333337</c:v>
                </c:pt>
                <c:pt idx="314">
                  <c:v>858</c:v>
                </c:pt>
                <c:pt idx="315">
                  <c:v>860.33333333333337</c:v>
                </c:pt>
                <c:pt idx="316">
                  <c:v>862</c:v>
                </c:pt>
                <c:pt idx="317">
                  <c:v>863</c:v>
                </c:pt>
                <c:pt idx="318">
                  <c:v>864</c:v>
                </c:pt>
                <c:pt idx="319">
                  <c:v>864.66666666666663</c:v>
                </c:pt>
                <c:pt idx="320">
                  <c:v>865</c:v>
                </c:pt>
                <c:pt idx="321">
                  <c:v>865.33333333333337</c:v>
                </c:pt>
                <c:pt idx="322">
                  <c:v>865.66666666666663</c:v>
                </c:pt>
                <c:pt idx="323">
                  <c:v>865.66666666666663</c:v>
                </c:pt>
                <c:pt idx="324">
                  <c:v>866</c:v>
                </c:pt>
                <c:pt idx="325">
                  <c:v>866.66666666666663</c:v>
                </c:pt>
                <c:pt idx="326">
                  <c:v>866.66666666666663</c:v>
                </c:pt>
                <c:pt idx="327">
                  <c:v>867</c:v>
                </c:pt>
                <c:pt idx="328">
                  <c:v>867.66666666666663</c:v>
                </c:pt>
                <c:pt idx="329">
                  <c:v>868.33333333333337</c:v>
                </c:pt>
                <c:pt idx="330">
                  <c:v>868.66666666666663</c:v>
                </c:pt>
                <c:pt idx="331">
                  <c:v>869.33333333333337</c:v>
                </c:pt>
                <c:pt idx="332">
                  <c:v>871.33333333333337</c:v>
                </c:pt>
                <c:pt idx="333">
                  <c:v>872.33333333333337</c:v>
                </c:pt>
                <c:pt idx="334">
                  <c:v>874</c:v>
                </c:pt>
                <c:pt idx="335">
                  <c:v>875.66666666666663</c:v>
                </c:pt>
                <c:pt idx="336">
                  <c:v>878</c:v>
                </c:pt>
                <c:pt idx="337">
                  <c:v>879.66666666666663</c:v>
                </c:pt>
                <c:pt idx="338">
                  <c:v>877</c:v>
                </c:pt>
                <c:pt idx="339">
                  <c:v>880.66666666666663</c:v>
                </c:pt>
                <c:pt idx="340">
                  <c:v>887</c:v>
                </c:pt>
                <c:pt idx="341">
                  <c:v>892.33333333333337</c:v>
                </c:pt>
                <c:pt idx="342">
                  <c:v>897</c:v>
                </c:pt>
                <c:pt idx="343">
                  <c:v>900.66666666666663</c:v>
                </c:pt>
                <c:pt idx="344">
                  <c:v>903.33333333333337</c:v>
                </c:pt>
                <c:pt idx="345">
                  <c:v>904.66666666666663</c:v>
                </c:pt>
                <c:pt idx="346">
                  <c:v>906.33333333333337</c:v>
                </c:pt>
                <c:pt idx="347">
                  <c:v>907</c:v>
                </c:pt>
                <c:pt idx="348">
                  <c:v>908</c:v>
                </c:pt>
                <c:pt idx="349">
                  <c:v>907.66666666666663</c:v>
                </c:pt>
                <c:pt idx="350">
                  <c:v>908.33333333333337</c:v>
                </c:pt>
                <c:pt idx="351">
                  <c:v>909</c:v>
                </c:pt>
                <c:pt idx="352">
                  <c:v>908.66666666666663</c:v>
                </c:pt>
                <c:pt idx="353">
                  <c:v>909</c:v>
                </c:pt>
                <c:pt idx="354">
                  <c:v>909.66666666666663</c:v>
                </c:pt>
                <c:pt idx="355">
                  <c:v>909.33333333333337</c:v>
                </c:pt>
                <c:pt idx="356">
                  <c:v>909.66666666666663</c:v>
                </c:pt>
                <c:pt idx="357">
                  <c:v>909.66666666666663</c:v>
                </c:pt>
                <c:pt idx="358">
                  <c:v>912.33333333333337</c:v>
                </c:pt>
                <c:pt idx="359">
                  <c:v>919</c:v>
                </c:pt>
                <c:pt idx="360">
                  <c:v>925.66666666666663</c:v>
                </c:pt>
                <c:pt idx="361">
                  <c:v>931.33333333333337</c:v>
                </c:pt>
                <c:pt idx="362">
                  <c:v>936.33333333333337</c:v>
                </c:pt>
                <c:pt idx="363">
                  <c:v>940</c:v>
                </c:pt>
                <c:pt idx="364">
                  <c:v>943</c:v>
                </c:pt>
                <c:pt idx="365">
                  <c:v>946.33333333333337</c:v>
                </c:pt>
                <c:pt idx="366">
                  <c:v>949.33333333333337</c:v>
                </c:pt>
                <c:pt idx="367">
                  <c:v>951.33333333333337</c:v>
                </c:pt>
                <c:pt idx="368">
                  <c:v>952.66666666666663</c:v>
                </c:pt>
                <c:pt idx="369">
                  <c:v>953.66666666666663</c:v>
                </c:pt>
                <c:pt idx="370">
                  <c:v>954.33333333333337</c:v>
                </c:pt>
                <c:pt idx="371">
                  <c:v>955.33333333333337</c:v>
                </c:pt>
                <c:pt idx="372">
                  <c:v>956</c:v>
                </c:pt>
                <c:pt idx="373">
                  <c:v>956.66666666666663</c:v>
                </c:pt>
                <c:pt idx="374">
                  <c:v>957</c:v>
                </c:pt>
                <c:pt idx="375">
                  <c:v>957.33333333333337</c:v>
                </c:pt>
                <c:pt idx="376">
                  <c:v>957.33333333333337</c:v>
                </c:pt>
                <c:pt idx="377">
                  <c:v>957.66666666666663</c:v>
                </c:pt>
                <c:pt idx="378">
                  <c:v>957.66666666666663</c:v>
                </c:pt>
                <c:pt idx="379">
                  <c:v>958.33333333333337</c:v>
                </c:pt>
                <c:pt idx="380">
                  <c:v>959</c:v>
                </c:pt>
                <c:pt idx="381">
                  <c:v>959.66666666666663</c:v>
                </c:pt>
                <c:pt idx="382">
                  <c:v>961</c:v>
                </c:pt>
                <c:pt idx="383">
                  <c:v>961.33333333333337</c:v>
                </c:pt>
                <c:pt idx="384">
                  <c:v>963.66666666666663</c:v>
                </c:pt>
                <c:pt idx="385">
                  <c:v>967.66666666666663</c:v>
                </c:pt>
                <c:pt idx="386">
                  <c:v>970.66666666666663</c:v>
                </c:pt>
                <c:pt idx="387">
                  <c:v>972</c:v>
                </c:pt>
                <c:pt idx="388">
                  <c:v>974</c:v>
                </c:pt>
                <c:pt idx="389">
                  <c:v>974.66666666666663</c:v>
                </c:pt>
                <c:pt idx="390">
                  <c:v>975.66666666666663</c:v>
                </c:pt>
                <c:pt idx="391">
                  <c:v>975.66666666666663</c:v>
                </c:pt>
                <c:pt idx="392">
                  <c:v>975.33333333333337</c:v>
                </c:pt>
                <c:pt idx="393">
                  <c:v>975.33333333333337</c:v>
                </c:pt>
                <c:pt idx="394">
                  <c:v>975</c:v>
                </c:pt>
                <c:pt idx="395">
                  <c:v>975.33333333333337</c:v>
                </c:pt>
                <c:pt idx="396">
                  <c:v>975.33333333333337</c:v>
                </c:pt>
                <c:pt idx="397">
                  <c:v>975</c:v>
                </c:pt>
                <c:pt idx="398">
                  <c:v>975</c:v>
                </c:pt>
                <c:pt idx="399">
                  <c:v>975</c:v>
                </c:pt>
                <c:pt idx="400">
                  <c:v>975.33333333333337</c:v>
                </c:pt>
                <c:pt idx="401">
                  <c:v>975.33333333333337</c:v>
                </c:pt>
                <c:pt idx="402">
                  <c:v>976.33333333333337</c:v>
                </c:pt>
                <c:pt idx="403">
                  <c:v>977</c:v>
                </c:pt>
                <c:pt idx="404">
                  <c:v>978</c:v>
                </c:pt>
                <c:pt idx="405">
                  <c:v>978</c:v>
                </c:pt>
                <c:pt idx="406">
                  <c:v>977.33333333333337</c:v>
                </c:pt>
                <c:pt idx="407">
                  <c:v>981</c:v>
                </c:pt>
                <c:pt idx="408">
                  <c:v>988</c:v>
                </c:pt>
                <c:pt idx="409">
                  <c:v>994.33333333333337</c:v>
                </c:pt>
                <c:pt idx="410">
                  <c:v>1000.3333333333334</c:v>
                </c:pt>
                <c:pt idx="411">
                  <c:v>1005.6666666666666</c:v>
                </c:pt>
                <c:pt idx="412">
                  <c:v>1009.6666666666666</c:v>
                </c:pt>
                <c:pt idx="413">
                  <c:v>1013.3333333333334</c:v>
                </c:pt>
                <c:pt idx="414">
                  <c:v>1016.3333333333334</c:v>
                </c:pt>
                <c:pt idx="415">
                  <c:v>1018.6666666666666</c:v>
                </c:pt>
                <c:pt idx="416">
                  <c:v>1020.6666666666666</c:v>
                </c:pt>
                <c:pt idx="417">
                  <c:v>1022.6666666666666</c:v>
                </c:pt>
                <c:pt idx="418">
                  <c:v>1023.6666666666666</c:v>
                </c:pt>
                <c:pt idx="419">
                  <c:v>1024.6666666666667</c:v>
                </c:pt>
                <c:pt idx="420">
                  <c:v>1026.3333333333333</c:v>
                </c:pt>
                <c:pt idx="421">
                  <c:v>1026.3333333333333</c:v>
                </c:pt>
                <c:pt idx="422">
                  <c:v>1027.3333333333333</c:v>
                </c:pt>
                <c:pt idx="423">
                  <c:v>1027.6666666666667</c:v>
                </c:pt>
                <c:pt idx="424">
                  <c:v>1028</c:v>
                </c:pt>
                <c:pt idx="425">
                  <c:v>1029</c:v>
                </c:pt>
                <c:pt idx="426">
                  <c:v>1029.6666666666667</c:v>
                </c:pt>
                <c:pt idx="427">
                  <c:v>1030.3333333333333</c:v>
                </c:pt>
                <c:pt idx="428">
                  <c:v>1031.6666666666667</c:v>
                </c:pt>
                <c:pt idx="429">
                  <c:v>1033</c:v>
                </c:pt>
                <c:pt idx="430">
                  <c:v>1034.3333333333333</c:v>
                </c:pt>
                <c:pt idx="431">
                  <c:v>1036.6666666666667</c:v>
                </c:pt>
                <c:pt idx="432">
                  <c:v>1039.3333333333333</c:v>
                </c:pt>
                <c:pt idx="433">
                  <c:v>1042</c:v>
                </c:pt>
                <c:pt idx="434">
                  <c:v>1044.6666666666667</c:v>
                </c:pt>
                <c:pt idx="435">
                  <c:v>1047</c:v>
                </c:pt>
                <c:pt idx="436">
                  <c:v>1049</c:v>
                </c:pt>
                <c:pt idx="437">
                  <c:v>1050.3333333333333</c:v>
                </c:pt>
                <c:pt idx="438">
                  <c:v>1051</c:v>
                </c:pt>
                <c:pt idx="439">
                  <c:v>1051.3333333333333</c:v>
                </c:pt>
                <c:pt idx="440">
                  <c:v>1052</c:v>
                </c:pt>
                <c:pt idx="441">
                  <c:v>1052.6666666666667</c:v>
                </c:pt>
                <c:pt idx="442">
                  <c:v>1052.6666666666667</c:v>
                </c:pt>
                <c:pt idx="443">
                  <c:v>1052.6666666666667</c:v>
                </c:pt>
                <c:pt idx="444">
                  <c:v>1053</c:v>
                </c:pt>
                <c:pt idx="445">
                  <c:v>1053</c:v>
                </c:pt>
                <c:pt idx="446">
                  <c:v>1053.3333333333333</c:v>
                </c:pt>
                <c:pt idx="447">
                  <c:v>1053.6666666666667</c:v>
                </c:pt>
                <c:pt idx="448">
                  <c:v>1054.3333333333333</c:v>
                </c:pt>
                <c:pt idx="449">
                  <c:v>1054.6666666666667</c:v>
                </c:pt>
                <c:pt idx="450">
                  <c:v>1055.6666666666667</c:v>
                </c:pt>
                <c:pt idx="451">
                  <c:v>1056.6666666666667</c:v>
                </c:pt>
                <c:pt idx="452">
                  <c:v>1058.3333333333333</c:v>
                </c:pt>
                <c:pt idx="453">
                  <c:v>1060</c:v>
                </c:pt>
                <c:pt idx="454">
                  <c:v>1062</c:v>
                </c:pt>
                <c:pt idx="455">
                  <c:v>1064.3333333333333</c:v>
                </c:pt>
                <c:pt idx="456">
                  <c:v>1066</c:v>
                </c:pt>
                <c:pt idx="457">
                  <c:v>1068.3333333333333</c:v>
                </c:pt>
                <c:pt idx="458">
                  <c:v>1071.3333333333333</c:v>
                </c:pt>
                <c:pt idx="459">
                  <c:v>1073.6666666666667</c:v>
                </c:pt>
                <c:pt idx="460">
                  <c:v>1076</c:v>
                </c:pt>
                <c:pt idx="461">
                  <c:v>1077</c:v>
                </c:pt>
                <c:pt idx="462">
                  <c:v>1078.3333333333333</c:v>
                </c:pt>
                <c:pt idx="463">
                  <c:v>1079.3333333333333</c:v>
                </c:pt>
                <c:pt idx="464">
                  <c:v>1079.3333333333333</c:v>
                </c:pt>
                <c:pt idx="465">
                  <c:v>1080.3333333333333</c:v>
                </c:pt>
                <c:pt idx="466">
                  <c:v>1081.3333333333333</c:v>
                </c:pt>
                <c:pt idx="467">
                  <c:v>1081.6666666666667</c:v>
                </c:pt>
                <c:pt idx="468">
                  <c:v>1081.6666666666667</c:v>
                </c:pt>
                <c:pt idx="469">
                  <c:v>1082</c:v>
                </c:pt>
                <c:pt idx="470">
                  <c:v>1083.3333333333333</c:v>
                </c:pt>
                <c:pt idx="471">
                  <c:v>1083</c:v>
                </c:pt>
                <c:pt idx="472">
                  <c:v>1084</c:v>
                </c:pt>
                <c:pt idx="473">
                  <c:v>1084.3333333333333</c:v>
                </c:pt>
                <c:pt idx="474">
                  <c:v>1085.3333333333333</c:v>
                </c:pt>
                <c:pt idx="475">
                  <c:v>1087.3333333333333</c:v>
                </c:pt>
                <c:pt idx="476">
                  <c:v>1088.3333333333333</c:v>
                </c:pt>
                <c:pt idx="477">
                  <c:v>1089.6666666666667</c:v>
                </c:pt>
                <c:pt idx="478">
                  <c:v>1091.6666666666667</c:v>
                </c:pt>
                <c:pt idx="479">
                  <c:v>1093.6666666666667</c:v>
                </c:pt>
                <c:pt idx="480">
                  <c:v>1095.6666666666667</c:v>
                </c:pt>
                <c:pt idx="481">
                  <c:v>1096.6666666666667</c:v>
                </c:pt>
                <c:pt idx="482">
                  <c:v>1097.6666666666667</c:v>
                </c:pt>
                <c:pt idx="483">
                  <c:v>1098.6666666666667</c:v>
                </c:pt>
                <c:pt idx="484">
                  <c:v>1099.3333333333333</c:v>
                </c:pt>
                <c:pt idx="485">
                  <c:v>1099.6666666666667</c:v>
                </c:pt>
                <c:pt idx="486">
                  <c:v>1100.3333333333333</c:v>
                </c:pt>
                <c:pt idx="487">
                  <c:v>1100.6666666666667</c:v>
                </c:pt>
                <c:pt idx="488">
                  <c:v>1101.3333333333333</c:v>
                </c:pt>
                <c:pt idx="489">
                  <c:v>1101.6666666666667</c:v>
                </c:pt>
                <c:pt idx="490">
                  <c:v>1102</c:v>
                </c:pt>
                <c:pt idx="491">
                  <c:v>1102.3333333333333</c:v>
                </c:pt>
                <c:pt idx="492">
                  <c:v>1103</c:v>
                </c:pt>
                <c:pt idx="493">
                  <c:v>1103</c:v>
                </c:pt>
                <c:pt idx="494">
                  <c:v>1103.6666666666667</c:v>
                </c:pt>
                <c:pt idx="495">
                  <c:v>1104</c:v>
                </c:pt>
                <c:pt idx="496">
                  <c:v>1104.6666666666667</c:v>
                </c:pt>
                <c:pt idx="497">
                  <c:v>1105</c:v>
                </c:pt>
                <c:pt idx="498">
                  <c:v>1105.3333333333333</c:v>
                </c:pt>
                <c:pt idx="499">
                  <c:v>1105.6666666666667</c:v>
                </c:pt>
                <c:pt idx="500">
                  <c:v>1106</c:v>
                </c:pt>
                <c:pt idx="501">
                  <c:v>1106.6666666666667</c:v>
                </c:pt>
                <c:pt idx="502">
                  <c:v>1108.3333333333333</c:v>
                </c:pt>
                <c:pt idx="503">
                  <c:v>1120.6666666666667</c:v>
                </c:pt>
                <c:pt idx="504">
                  <c:v>1150</c:v>
                </c:pt>
                <c:pt idx="505">
                  <c:v>1155.3333333333333</c:v>
                </c:pt>
                <c:pt idx="506">
                  <c:v>1158.6666666666667</c:v>
                </c:pt>
                <c:pt idx="507">
                  <c:v>1162</c:v>
                </c:pt>
                <c:pt idx="508">
                  <c:v>1164.6666666666667</c:v>
                </c:pt>
                <c:pt idx="509">
                  <c:v>1165.6666666666667</c:v>
                </c:pt>
                <c:pt idx="510">
                  <c:v>1166</c:v>
                </c:pt>
                <c:pt idx="511">
                  <c:v>1166.6666666666667</c:v>
                </c:pt>
                <c:pt idx="512">
                  <c:v>1166.6666666666667</c:v>
                </c:pt>
                <c:pt idx="513">
                  <c:v>1167.3333333333333</c:v>
                </c:pt>
                <c:pt idx="514">
                  <c:v>1167.6666666666667</c:v>
                </c:pt>
                <c:pt idx="515">
                  <c:v>1167.6666666666667</c:v>
                </c:pt>
                <c:pt idx="516">
                  <c:v>1167.6666666666667</c:v>
                </c:pt>
                <c:pt idx="517">
                  <c:v>1167.6666666666667</c:v>
                </c:pt>
                <c:pt idx="518">
                  <c:v>1168</c:v>
                </c:pt>
                <c:pt idx="519">
                  <c:v>1168</c:v>
                </c:pt>
                <c:pt idx="520">
                  <c:v>1168.3333333333333</c:v>
                </c:pt>
                <c:pt idx="521">
                  <c:v>1168.6666666666667</c:v>
                </c:pt>
                <c:pt idx="522">
                  <c:v>1169</c:v>
                </c:pt>
                <c:pt idx="523">
                  <c:v>1169.6666666666667</c:v>
                </c:pt>
                <c:pt idx="524">
                  <c:v>1170.3333333333333</c:v>
                </c:pt>
                <c:pt idx="525">
                  <c:v>1172.6666666666667</c:v>
                </c:pt>
                <c:pt idx="526">
                  <c:v>1176</c:v>
                </c:pt>
                <c:pt idx="527">
                  <c:v>1178.6666666666667</c:v>
                </c:pt>
                <c:pt idx="528">
                  <c:v>1179.3333333333333</c:v>
                </c:pt>
                <c:pt idx="529">
                  <c:v>1181.6666666666667</c:v>
                </c:pt>
                <c:pt idx="530">
                  <c:v>1184</c:v>
                </c:pt>
                <c:pt idx="531">
                  <c:v>1185.6666666666667</c:v>
                </c:pt>
                <c:pt idx="532">
                  <c:v>1187</c:v>
                </c:pt>
                <c:pt idx="533">
                  <c:v>1187.6666666666667</c:v>
                </c:pt>
                <c:pt idx="534">
                  <c:v>1188.6666666666667</c:v>
                </c:pt>
                <c:pt idx="535">
                  <c:v>1189.3333333333333</c:v>
                </c:pt>
                <c:pt idx="536">
                  <c:v>1190</c:v>
                </c:pt>
                <c:pt idx="537">
                  <c:v>1190</c:v>
                </c:pt>
                <c:pt idx="538">
                  <c:v>1191</c:v>
                </c:pt>
                <c:pt idx="539">
                  <c:v>1191.3333333333333</c:v>
                </c:pt>
                <c:pt idx="540">
                  <c:v>1192</c:v>
                </c:pt>
                <c:pt idx="541">
                  <c:v>1192</c:v>
                </c:pt>
                <c:pt idx="542">
                  <c:v>1192.6666666666667</c:v>
                </c:pt>
                <c:pt idx="543">
                  <c:v>1193</c:v>
                </c:pt>
                <c:pt idx="544">
                  <c:v>1193.6666666666667</c:v>
                </c:pt>
                <c:pt idx="545">
                  <c:v>1194</c:v>
                </c:pt>
                <c:pt idx="546">
                  <c:v>1194</c:v>
                </c:pt>
                <c:pt idx="547">
                  <c:v>1194</c:v>
                </c:pt>
                <c:pt idx="548">
                  <c:v>1194.6666666666667</c:v>
                </c:pt>
                <c:pt idx="549">
                  <c:v>1195.6666666666667</c:v>
                </c:pt>
                <c:pt idx="550">
                  <c:v>1196</c:v>
                </c:pt>
                <c:pt idx="551">
                  <c:v>1195.6666666666667</c:v>
                </c:pt>
                <c:pt idx="552">
                  <c:v>1195.3333333333333</c:v>
                </c:pt>
                <c:pt idx="553">
                  <c:v>1195.6666666666667</c:v>
                </c:pt>
                <c:pt idx="554">
                  <c:v>1196</c:v>
                </c:pt>
                <c:pt idx="555">
                  <c:v>1195</c:v>
                </c:pt>
                <c:pt idx="556">
                  <c:v>1194.3333333333333</c:v>
                </c:pt>
                <c:pt idx="557">
                  <c:v>1195</c:v>
                </c:pt>
                <c:pt idx="558">
                  <c:v>1195.3333333333333</c:v>
                </c:pt>
                <c:pt idx="559">
                  <c:v>1196.6666666666667</c:v>
                </c:pt>
                <c:pt idx="560">
                  <c:v>1197.6666666666667</c:v>
                </c:pt>
                <c:pt idx="561">
                  <c:v>1198.6666666666667</c:v>
                </c:pt>
                <c:pt idx="562">
                  <c:v>1200</c:v>
                </c:pt>
                <c:pt idx="563">
                  <c:v>1201</c:v>
                </c:pt>
                <c:pt idx="564">
                  <c:v>1202</c:v>
                </c:pt>
                <c:pt idx="565">
                  <c:v>1203</c:v>
                </c:pt>
                <c:pt idx="566">
                  <c:v>1204</c:v>
                </c:pt>
                <c:pt idx="567">
                  <c:v>1204.6666666666667</c:v>
                </c:pt>
                <c:pt idx="568">
                  <c:v>1205.3333333333333</c:v>
                </c:pt>
                <c:pt idx="569">
                  <c:v>1206</c:v>
                </c:pt>
                <c:pt idx="570">
                  <c:v>1207</c:v>
                </c:pt>
                <c:pt idx="571">
                  <c:v>1207.6666666666667</c:v>
                </c:pt>
                <c:pt idx="572">
                  <c:v>1208.6666666666667</c:v>
                </c:pt>
                <c:pt idx="573">
                  <c:v>1210.3333333333333</c:v>
                </c:pt>
                <c:pt idx="574">
                  <c:v>1212</c:v>
                </c:pt>
                <c:pt idx="575">
                  <c:v>1214</c:v>
                </c:pt>
                <c:pt idx="576">
                  <c:v>1216.3333333333333</c:v>
                </c:pt>
                <c:pt idx="577">
                  <c:v>1218.6666666666667</c:v>
                </c:pt>
                <c:pt idx="578">
                  <c:v>1222</c:v>
                </c:pt>
                <c:pt idx="579">
                  <c:v>1224.6666666666667</c:v>
                </c:pt>
                <c:pt idx="580">
                  <c:v>1226.3333333333333</c:v>
                </c:pt>
                <c:pt idx="581">
                  <c:v>1227.3333333333333</c:v>
                </c:pt>
                <c:pt idx="582">
                  <c:v>1228.6666666666667</c:v>
                </c:pt>
                <c:pt idx="583">
                  <c:v>1228.6666666666667</c:v>
                </c:pt>
                <c:pt idx="584">
                  <c:v>1229</c:v>
                </c:pt>
                <c:pt idx="585">
                  <c:v>1229.3333333333333</c:v>
                </c:pt>
                <c:pt idx="586">
                  <c:v>1229.6666666666667</c:v>
                </c:pt>
                <c:pt idx="587">
                  <c:v>1230</c:v>
                </c:pt>
                <c:pt idx="588">
                  <c:v>1230</c:v>
                </c:pt>
                <c:pt idx="589">
                  <c:v>1230.3333333333333</c:v>
                </c:pt>
                <c:pt idx="590">
                  <c:v>1230.6666666666667</c:v>
                </c:pt>
                <c:pt idx="591">
                  <c:v>1231.3333333333333</c:v>
                </c:pt>
                <c:pt idx="592">
                  <c:v>1231.3333333333333</c:v>
                </c:pt>
                <c:pt idx="593">
                  <c:v>1231.3333333333333</c:v>
                </c:pt>
                <c:pt idx="594">
                  <c:v>1231.3333333333333</c:v>
                </c:pt>
                <c:pt idx="595">
                  <c:v>1231</c:v>
                </c:pt>
                <c:pt idx="596">
                  <c:v>1231</c:v>
                </c:pt>
                <c:pt idx="597">
                  <c:v>1232.3333333333333</c:v>
                </c:pt>
                <c:pt idx="598">
                  <c:v>1233.3333333333333</c:v>
                </c:pt>
                <c:pt idx="599">
                  <c:v>1234.6666666666667</c:v>
                </c:pt>
                <c:pt idx="600">
                  <c:v>1242</c:v>
                </c:pt>
                <c:pt idx="601">
                  <c:v>1244.6666666666667</c:v>
                </c:pt>
                <c:pt idx="602">
                  <c:v>1247.6666666666667</c:v>
                </c:pt>
                <c:pt idx="603">
                  <c:v>1251</c:v>
                </c:pt>
                <c:pt idx="604">
                  <c:v>1252</c:v>
                </c:pt>
                <c:pt idx="605">
                  <c:v>1253</c:v>
                </c:pt>
                <c:pt idx="606">
                  <c:v>1254.6666666666667</c:v>
                </c:pt>
                <c:pt idx="607">
                  <c:v>1255.3333333333333</c:v>
                </c:pt>
                <c:pt idx="608">
                  <c:v>1257</c:v>
                </c:pt>
                <c:pt idx="609">
                  <c:v>1257.3333333333333</c:v>
                </c:pt>
                <c:pt idx="610">
                  <c:v>1258.6666666666667</c:v>
                </c:pt>
                <c:pt idx="611">
                  <c:v>1259</c:v>
                </c:pt>
                <c:pt idx="612">
                  <c:v>1260.3333333333333</c:v>
                </c:pt>
                <c:pt idx="613">
                  <c:v>1260.6666666666667</c:v>
                </c:pt>
                <c:pt idx="614">
                  <c:v>1262.3333333333333</c:v>
                </c:pt>
                <c:pt idx="615">
                  <c:v>1262</c:v>
                </c:pt>
                <c:pt idx="616">
                  <c:v>1263.6666666666667</c:v>
                </c:pt>
                <c:pt idx="617">
                  <c:v>1264</c:v>
                </c:pt>
                <c:pt idx="618">
                  <c:v>1265.3333333333333</c:v>
                </c:pt>
                <c:pt idx="619">
                  <c:v>1266</c:v>
                </c:pt>
                <c:pt idx="620">
                  <c:v>1268.3333333333333</c:v>
                </c:pt>
                <c:pt idx="621">
                  <c:v>1269.6666666666667</c:v>
                </c:pt>
                <c:pt idx="622">
                  <c:v>1272</c:v>
                </c:pt>
                <c:pt idx="623">
                  <c:v>1273.3333333333333</c:v>
                </c:pt>
                <c:pt idx="624">
                  <c:v>1276.3333333333333</c:v>
                </c:pt>
                <c:pt idx="625">
                  <c:v>1276.6666666666667</c:v>
                </c:pt>
                <c:pt idx="626">
                  <c:v>1278.3333333333333</c:v>
                </c:pt>
                <c:pt idx="627">
                  <c:v>1281</c:v>
                </c:pt>
                <c:pt idx="628">
                  <c:v>1281.6666666666667</c:v>
                </c:pt>
                <c:pt idx="629">
                  <c:v>1284</c:v>
                </c:pt>
                <c:pt idx="630">
                  <c:v>1284.6666666666667</c:v>
                </c:pt>
                <c:pt idx="631">
                  <c:v>1287</c:v>
                </c:pt>
                <c:pt idx="632">
                  <c:v>1287</c:v>
                </c:pt>
                <c:pt idx="633">
                  <c:v>1287.3333333333333</c:v>
                </c:pt>
                <c:pt idx="634">
                  <c:v>1288.6666666666667</c:v>
                </c:pt>
                <c:pt idx="635">
                  <c:v>1289</c:v>
                </c:pt>
                <c:pt idx="636">
                  <c:v>1289.3333333333333</c:v>
                </c:pt>
                <c:pt idx="637">
                  <c:v>1290.6666666666667</c:v>
                </c:pt>
                <c:pt idx="638">
                  <c:v>1290.6666666666667</c:v>
                </c:pt>
                <c:pt idx="639">
                  <c:v>1292.3333333333333</c:v>
                </c:pt>
                <c:pt idx="640">
                  <c:v>1292.6666666666667</c:v>
                </c:pt>
                <c:pt idx="641">
                  <c:v>1292.6666666666667</c:v>
                </c:pt>
                <c:pt idx="642">
                  <c:v>1294.3333333333333</c:v>
                </c:pt>
                <c:pt idx="643">
                  <c:v>1294.6666666666667</c:v>
                </c:pt>
                <c:pt idx="644">
                  <c:v>1296</c:v>
                </c:pt>
                <c:pt idx="645">
                  <c:v>1297.6666666666667</c:v>
                </c:pt>
                <c:pt idx="646">
                  <c:v>1300</c:v>
                </c:pt>
                <c:pt idx="647">
                  <c:v>1302.6666666666667</c:v>
                </c:pt>
                <c:pt idx="648">
                  <c:v>1305</c:v>
                </c:pt>
                <c:pt idx="649">
                  <c:v>1306.3333333333333</c:v>
                </c:pt>
                <c:pt idx="650">
                  <c:v>1308</c:v>
                </c:pt>
                <c:pt idx="651">
                  <c:v>1310.6666666666667</c:v>
                </c:pt>
                <c:pt idx="652">
                  <c:v>1313.3333333333333</c:v>
                </c:pt>
                <c:pt idx="653">
                  <c:v>1314</c:v>
                </c:pt>
                <c:pt idx="654">
                  <c:v>1314</c:v>
                </c:pt>
                <c:pt idx="655">
                  <c:v>1314.3333333333333</c:v>
                </c:pt>
                <c:pt idx="656">
                  <c:v>1314.3333333333333</c:v>
                </c:pt>
                <c:pt idx="657">
                  <c:v>1316.3333333333333</c:v>
                </c:pt>
                <c:pt idx="658">
                  <c:v>1316</c:v>
                </c:pt>
                <c:pt idx="659">
                  <c:v>1315.6666666666667</c:v>
                </c:pt>
                <c:pt idx="660">
                  <c:v>1316.3333333333333</c:v>
                </c:pt>
                <c:pt idx="661">
                  <c:v>1317</c:v>
                </c:pt>
                <c:pt idx="662">
                  <c:v>1316.6666666666667</c:v>
                </c:pt>
                <c:pt idx="663">
                  <c:v>1318.3333333333333</c:v>
                </c:pt>
                <c:pt idx="664">
                  <c:v>1318.3333333333333</c:v>
                </c:pt>
                <c:pt idx="665">
                  <c:v>1318.6666666666667</c:v>
                </c:pt>
                <c:pt idx="666">
                  <c:v>1320</c:v>
                </c:pt>
                <c:pt idx="667">
                  <c:v>1320.6666666666667</c:v>
                </c:pt>
                <c:pt idx="668">
                  <c:v>132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68C4-2F4E-B2B1-0D74CEF64EBE}"/>
            </c:ext>
          </c:extLst>
        </c:ser>
        <c:ser>
          <c:idx val="1"/>
          <c:order val="1"/>
          <c:tx>
            <c:v>Average Unstirred</c:v>
          </c:tx>
          <c:spPr>
            <a:ln w="25400" cap="rnd">
              <a:solidFill>
                <a:srgbClr val="C90424"/>
              </a:solidFill>
              <a:round/>
            </a:ln>
            <a:effectLst/>
          </c:spPr>
          <c:marker>
            <c:symbol val="circle"/>
            <c:size val="5"/>
            <c:spPr>
              <a:noFill/>
              <a:ln w="9525">
                <a:noFill/>
              </a:ln>
              <a:effectLst/>
            </c:spPr>
          </c:marker>
          <c:xVal>
            <c:numRef>
              <c:f>'Volume Average Stirred vs unst.'!$A$5:$A$672</c:f>
              <c:numCache>
                <c:formatCode>0</c:formatCode>
                <c:ptCount val="668"/>
                <c:pt idx="0">
                  <c:v>0</c:v>
                </c:pt>
                <c:pt idx="1">
                  <c:v>4.1666666666666664E-2</c:v>
                </c:pt>
                <c:pt idx="2">
                  <c:v>8.3333333333333329E-2</c:v>
                </c:pt>
                <c:pt idx="3">
                  <c:v>0.125</c:v>
                </c:pt>
                <c:pt idx="4">
                  <c:v>0.16666666666666666</c:v>
                </c:pt>
                <c:pt idx="5">
                  <c:v>0.20833333333333334</c:v>
                </c:pt>
                <c:pt idx="6">
                  <c:v>0.25</c:v>
                </c:pt>
                <c:pt idx="7">
                  <c:v>0.29166666666666669</c:v>
                </c:pt>
                <c:pt idx="8">
                  <c:v>0.33333333333333331</c:v>
                </c:pt>
                <c:pt idx="9">
                  <c:v>0.375</c:v>
                </c:pt>
                <c:pt idx="10">
                  <c:v>0.41666666666666669</c:v>
                </c:pt>
                <c:pt idx="11">
                  <c:v>0.45833333333333331</c:v>
                </c:pt>
                <c:pt idx="12">
                  <c:v>0.5</c:v>
                </c:pt>
                <c:pt idx="13">
                  <c:v>0.54166666666666663</c:v>
                </c:pt>
                <c:pt idx="14">
                  <c:v>0.58333333333333337</c:v>
                </c:pt>
                <c:pt idx="15">
                  <c:v>0.625</c:v>
                </c:pt>
                <c:pt idx="16">
                  <c:v>0.66666666666666663</c:v>
                </c:pt>
                <c:pt idx="17">
                  <c:v>0.70833333333333337</c:v>
                </c:pt>
                <c:pt idx="18">
                  <c:v>0.75</c:v>
                </c:pt>
                <c:pt idx="19">
                  <c:v>0.79166666666666663</c:v>
                </c:pt>
                <c:pt idx="20">
                  <c:v>0.83333333333333337</c:v>
                </c:pt>
                <c:pt idx="21">
                  <c:v>0.875</c:v>
                </c:pt>
                <c:pt idx="22">
                  <c:v>0.91666666666666663</c:v>
                </c:pt>
                <c:pt idx="23">
                  <c:v>0.95833333333333337</c:v>
                </c:pt>
                <c:pt idx="24">
                  <c:v>1</c:v>
                </c:pt>
                <c:pt idx="25">
                  <c:v>1.0416666666666667</c:v>
                </c:pt>
                <c:pt idx="26">
                  <c:v>1.0833333333333333</c:v>
                </c:pt>
                <c:pt idx="27">
                  <c:v>1.125</c:v>
                </c:pt>
                <c:pt idx="28">
                  <c:v>1.1666666666666667</c:v>
                </c:pt>
                <c:pt idx="29">
                  <c:v>1.2083333333333333</c:v>
                </c:pt>
                <c:pt idx="30">
                  <c:v>1.25</c:v>
                </c:pt>
                <c:pt idx="31">
                  <c:v>1.2916666666666667</c:v>
                </c:pt>
                <c:pt idx="32">
                  <c:v>1.3333333333333333</c:v>
                </c:pt>
                <c:pt idx="33">
                  <c:v>1.375</c:v>
                </c:pt>
                <c:pt idx="34">
                  <c:v>1.4166666666666667</c:v>
                </c:pt>
                <c:pt idx="35">
                  <c:v>1.4583333333333333</c:v>
                </c:pt>
                <c:pt idx="36">
                  <c:v>1.5</c:v>
                </c:pt>
                <c:pt idx="37">
                  <c:v>1.5416666666666667</c:v>
                </c:pt>
                <c:pt idx="38">
                  <c:v>1.5833333333333333</c:v>
                </c:pt>
                <c:pt idx="39">
                  <c:v>1.625</c:v>
                </c:pt>
                <c:pt idx="40">
                  <c:v>1.6666666666666667</c:v>
                </c:pt>
                <c:pt idx="41">
                  <c:v>1.7083333333333333</c:v>
                </c:pt>
                <c:pt idx="42">
                  <c:v>1.75</c:v>
                </c:pt>
                <c:pt idx="43">
                  <c:v>1.7916666666666667</c:v>
                </c:pt>
                <c:pt idx="44">
                  <c:v>1.8333333333333333</c:v>
                </c:pt>
                <c:pt idx="45">
                  <c:v>1.875</c:v>
                </c:pt>
                <c:pt idx="46">
                  <c:v>1.9166666666666667</c:v>
                </c:pt>
                <c:pt idx="47">
                  <c:v>1.9583333333333333</c:v>
                </c:pt>
                <c:pt idx="48">
                  <c:v>2</c:v>
                </c:pt>
                <c:pt idx="49">
                  <c:v>2.0416666666666665</c:v>
                </c:pt>
                <c:pt idx="50">
                  <c:v>2.0833333333333335</c:v>
                </c:pt>
                <c:pt idx="51">
                  <c:v>2.125</c:v>
                </c:pt>
                <c:pt idx="52">
                  <c:v>2.1666666666666665</c:v>
                </c:pt>
                <c:pt idx="53">
                  <c:v>2.2083333333333335</c:v>
                </c:pt>
                <c:pt idx="54">
                  <c:v>2.25</c:v>
                </c:pt>
                <c:pt idx="55">
                  <c:v>2.2916666666666665</c:v>
                </c:pt>
                <c:pt idx="56">
                  <c:v>2.3333333333333335</c:v>
                </c:pt>
                <c:pt idx="57">
                  <c:v>2.375</c:v>
                </c:pt>
                <c:pt idx="58">
                  <c:v>2.4166666666666665</c:v>
                </c:pt>
                <c:pt idx="59">
                  <c:v>2.4583333333333335</c:v>
                </c:pt>
                <c:pt idx="60">
                  <c:v>2.5</c:v>
                </c:pt>
                <c:pt idx="61">
                  <c:v>2.5416666666666665</c:v>
                </c:pt>
                <c:pt idx="62">
                  <c:v>2.5833333333333335</c:v>
                </c:pt>
                <c:pt idx="63">
                  <c:v>2.625</c:v>
                </c:pt>
                <c:pt idx="64">
                  <c:v>2.6666666666666665</c:v>
                </c:pt>
                <c:pt idx="65">
                  <c:v>2.7083333333333335</c:v>
                </c:pt>
                <c:pt idx="66">
                  <c:v>2.75</c:v>
                </c:pt>
                <c:pt idx="67">
                  <c:v>2.7916666666666665</c:v>
                </c:pt>
                <c:pt idx="68">
                  <c:v>2.8333333333333335</c:v>
                </c:pt>
                <c:pt idx="69">
                  <c:v>2.875</c:v>
                </c:pt>
                <c:pt idx="70">
                  <c:v>2.9166666666666665</c:v>
                </c:pt>
                <c:pt idx="71">
                  <c:v>2.9583333333333335</c:v>
                </c:pt>
                <c:pt idx="72">
                  <c:v>3</c:v>
                </c:pt>
                <c:pt idx="73">
                  <c:v>3.0416666666666665</c:v>
                </c:pt>
                <c:pt idx="74">
                  <c:v>3.0833333333333335</c:v>
                </c:pt>
                <c:pt idx="75">
                  <c:v>3.125</c:v>
                </c:pt>
                <c:pt idx="76">
                  <c:v>3.1666666666666665</c:v>
                </c:pt>
                <c:pt idx="77">
                  <c:v>3.2083333333333335</c:v>
                </c:pt>
                <c:pt idx="78">
                  <c:v>3.25</c:v>
                </c:pt>
                <c:pt idx="79">
                  <c:v>3.2916666666666665</c:v>
                </c:pt>
                <c:pt idx="80">
                  <c:v>3.3333333333333335</c:v>
                </c:pt>
                <c:pt idx="81">
                  <c:v>3.375</c:v>
                </c:pt>
                <c:pt idx="82">
                  <c:v>3.4166666666666665</c:v>
                </c:pt>
                <c:pt idx="83">
                  <c:v>3.4583333333333335</c:v>
                </c:pt>
                <c:pt idx="84">
                  <c:v>3.5</c:v>
                </c:pt>
                <c:pt idx="85">
                  <c:v>3.5416666666666665</c:v>
                </c:pt>
                <c:pt idx="86">
                  <c:v>3.5833333333333335</c:v>
                </c:pt>
                <c:pt idx="87">
                  <c:v>3.625</c:v>
                </c:pt>
                <c:pt idx="88">
                  <c:v>3.6666666666666665</c:v>
                </c:pt>
                <c:pt idx="89">
                  <c:v>3.7083333333333335</c:v>
                </c:pt>
                <c:pt idx="90">
                  <c:v>3.75</c:v>
                </c:pt>
                <c:pt idx="91">
                  <c:v>3.7916666666666665</c:v>
                </c:pt>
                <c:pt idx="92">
                  <c:v>3.8333333333333335</c:v>
                </c:pt>
                <c:pt idx="93">
                  <c:v>3.875</c:v>
                </c:pt>
                <c:pt idx="94">
                  <c:v>3.9166666666666665</c:v>
                </c:pt>
                <c:pt idx="95">
                  <c:v>3.9583333333333335</c:v>
                </c:pt>
                <c:pt idx="96">
                  <c:v>4</c:v>
                </c:pt>
                <c:pt idx="97">
                  <c:v>4.041666666666667</c:v>
                </c:pt>
                <c:pt idx="98">
                  <c:v>4.083333333333333</c:v>
                </c:pt>
                <c:pt idx="99">
                  <c:v>4.125</c:v>
                </c:pt>
                <c:pt idx="100">
                  <c:v>4.166666666666667</c:v>
                </c:pt>
                <c:pt idx="101">
                  <c:v>4.208333333333333</c:v>
                </c:pt>
                <c:pt idx="102">
                  <c:v>4.25</c:v>
                </c:pt>
                <c:pt idx="103">
                  <c:v>4.291666666666667</c:v>
                </c:pt>
                <c:pt idx="104">
                  <c:v>4.333333333333333</c:v>
                </c:pt>
                <c:pt idx="105">
                  <c:v>4.375</c:v>
                </c:pt>
                <c:pt idx="106">
                  <c:v>4.416666666666667</c:v>
                </c:pt>
                <c:pt idx="107">
                  <c:v>4.458333333333333</c:v>
                </c:pt>
                <c:pt idx="108">
                  <c:v>4.5</c:v>
                </c:pt>
                <c:pt idx="109">
                  <c:v>4.541666666666667</c:v>
                </c:pt>
                <c:pt idx="110">
                  <c:v>4.583333333333333</c:v>
                </c:pt>
                <c:pt idx="111">
                  <c:v>4.625</c:v>
                </c:pt>
                <c:pt idx="112">
                  <c:v>4.666666666666667</c:v>
                </c:pt>
                <c:pt idx="113">
                  <c:v>4.708333333333333</c:v>
                </c:pt>
                <c:pt idx="114">
                  <c:v>4.75</c:v>
                </c:pt>
                <c:pt idx="115">
                  <c:v>4.791666666666667</c:v>
                </c:pt>
                <c:pt idx="116">
                  <c:v>4.833333333333333</c:v>
                </c:pt>
                <c:pt idx="117">
                  <c:v>4.875</c:v>
                </c:pt>
                <c:pt idx="118">
                  <c:v>4.916666666666667</c:v>
                </c:pt>
                <c:pt idx="119">
                  <c:v>4.958333333333333</c:v>
                </c:pt>
                <c:pt idx="120">
                  <c:v>5</c:v>
                </c:pt>
                <c:pt idx="121">
                  <c:v>5.041666666666667</c:v>
                </c:pt>
                <c:pt idx="122">
                  <c:v>5.083333333333333</c:v>
                </c:pt>
                <c:pt idx="123">
                  <c:v>5.125</c:v>
                </c:pt>
                <c:pt idx="124">
                  <c:v>5.166666666666667</c:v>
                </c:pt>
                <c:pt idx="125">
                  <c:v>5.208333333333333</c:v>
                </c:pt>
                <c:pt idx="126">
                  <c:v>5.25</c:v>
                </c:pt>
                <c:pt idx="127">
                  <c:v>5.291666666666667</c:v>
                </c:pt>
                <c:pt idx="128">
                  <c:v>5.333333333333333</c:v>
                </c:pt>
                <c:pt idx="129">
                  <c:v>5.375</c:v>
                </c:pt>
                <c:pt idx="130">
                  <c:v>5.416666666666667</c:v>
                </c:pt>
                <c:pt idx="131">
                  <c:v>5.458333333333333</c:v>
                </c:pt>
                <c:pt idx="132">
                  <c:v>5.5</c:v>
                </c:pt>
                <c:pt idx="133">
                  <c:v>5.541666666666667</c:v>
                </c:pt>
                <c:pt idx="134">
                  <c:v>5.583333333333333</c:v>
                </c:pt>
                <c:pt idx="135">
                  <c:v>5.625</c:v>
                </c:pt>
                <c:pt idx="136">
                  <c:v>5.666666666666667</c:v>
                </c:pt>
                <c:pt idx="137">
                  <c:v>5.708333333333333</c:v>
                </c:pt>
                <c:pt idx="138">
                  <c:v>5.75</c:v>
                </c:pt>
                <c:pt idx="139">
                  <c:v>5.791666666666667</c:v>
                </c:pt>
                <c:pt idx="140">
                  <c:v>5.833333333333333</c:v>
                </c:pt>
                <c:pt idx="141">
                  <c:v>5.875</c:v>
                </c:pt>
                <c:pt idx="142">
                  <c:v>5.916666666666667</c:v>
                </c:pt>
                <c:pt idx="143">
                  <c:v>5.958333333333333</c:v>
                </c:pt>
                <c:pt idx="144">
                  <c:v>6</c:v>
                </c:pt>
                <c:pt idx="145">
                  <c:v>6.041666666666667</c:v>
                </c:pt>
                <c:pt idx="146">
                  <c:v>6.083333333333333</c:v>
                </c:pt>
                <c:pt idx="147">
                  <c:v>6.125</c:v>
                </c:pt>
                <c:pt idx="148">
                  <c:v>6.166666666666667</c:v>
                </c:pt>
                <c:pt idx="149">
                  <c:v>6.208333333333333</c:v>
                </c:pt>
                <c:pt idx="150">
                  <c:v>6.25</c:v>
                </c:pt>
                <c:pt idx="151">
                  <c:v>6.291666666666667</c:v>
                </c:pt>
                <c:pt idx="152">
                  <c:v>6.333333333333333</c:v>
                </c:pt>
                <c:pt idx="153">
                  <c:v>6.375</c:v>
                </c:pt>
                <c:pt idx="154">
                  <c:v>6.416666666666667</c:v>
                </c:pt>
                <c:pt idx="155">
                  <c:v>6.458333333333333</c:v>
                </c:pt>
                <c:pt idx="156">
                  <c:v>6.5</c:v>
                </c:pt>
                <c:pt idx="157">
                  <c:v>6.541666666666667</c:v>
                </c:pt>
                <c:pt idx="158">
                  <c:v>6.583333333333333</c:v>
                </c:pt>
                <c:pt idx="159">
                  <c:v>6.625</c:v>
                </c:pt>
                <c:pt idx="160">
                  <c:v>6.666666666666667</c:v>
                </c:pt>
                <c:pt idx="161">
                  <c:v>6.708333333333333</c:v>
                </c:pt>
                <c:pt idx="162">
                  <c:v>6.75</c:v>
                </c:pt>
                <c:pt idx="163">
                  <c:v>6.791666666666667</c:v>
                </c:pt>
                <c:pt idx="164">
                  <c:v>6.833333333333333</c:v>
                </c:pt>
                <c:pt idx="165">
                  <c:v>6.875</c:v>
                </c:pt>
                <c:pt idx="166">
                  <c:v>6.916666666666667</c:v>
                </c:pt>
                <c:pt idx="167">
                  <c:v>6.958333333333333</c:v>
                </c:pt>
                <c:pt idx="168">
                  <c:v>7</c:v>
                </c:pt>
                <c:pt idx="169">
                  <c:v>7.041666666666667</c:v>
                </c:pt>
                <c:pt idx="170">
                  <c:v>7.083333333333333</c:v>
                </c:pt>
                <c:pt idx="171">
                  <c:v>7.125</c:v>
                </c:pt>
                <c:pt idx="172">
                  <c:v>7.166666666666667</c:v>
                </c:pt>
                <c:pt idx="173">
                  <c:v>7.208333333333333</c:v>
                </c:pt>
                <c:pt idx="174">
                  <c:v>7.25</c:v>
                </c:pt>
                <c:pt idx="175">
                  <c:v>7.291666666666667</c:v>
                </c:pt>
                <c:pt idx="176">
                  <c:v>7.333333333333333</c:v>
                </c:pt>
                <c:pt idx="177">
                  <c:v>7.375</c:v>
                </c:pt>
                <c:pt idx="178">
                  <c:v>7.416666666666667</c:v>
                </c:pt>
                <c:pt idx="179">
                  <c:v>7.458333333333333</c:v>
                </c:pt>
                <c:pt idx="180">
                  <c:v>7.5</c:v>
                </c:pt>
                <c:pt idx="181">
                  <c:v>7.541666666666667</c:v>
                </c:pt>
                <c:pt idx="182">
                  <c:v>7.583333333333333</c:v>
                </c:pt>
                <c:pt idx="183">
                  <c:v>7.625</c:v>
                </c:pt>
                <c:pt idx="184">
                  <c:v>7.666666666666667</c:v>
                </c:pt>
                <c:pt idx="185">
                  <c:v>7.708333333333333</c:v>
                </c:pt>
                <c:pt idx="186">
                  <c:v>7.75</c:v>
                </c:pt>
                <c:pt idx="187">
                  <c:v>7.791666666666667</c:v>
                </c:pt>
                <c:pt idx="188">
                  <c:v>7.833333333333333</c:v>
                </c:pt>
                <c:pt idx="189">
                  <c:v>7.875</c:v>
                </c:pt>
                <c:pt idx="190">
                  <c:v>7.916666666666667</c:v>
                </c:pt>
                <c:pt idx="191">
                  <c:v>7.958333333333333</c:v>
                </c:pt>
                <c:pt idx="192">
                  <c:v>8</c:v>
                </c:pt>
                <c:pt idx="193">
                  <c:v>8.0416666666666661</c:v>
                </c:pt>
                <c:pt idx="194">
                  <c:v>8.0833333333333339</c:v>
                </c:pt>
                <c:pt idx="195">
                  <c:v>8.125</c:v>
                </c:pt>
                <c:pt idx="196">
                  <c:v>8.1666666666666661</c:v>
                </c:pt>
                <c:pt idx="197">
                  <c:v>8.2083333333333339</c:v>
                </c:pt>
                <c:pt idx="198">
                  <c:v>8.25</c:v>
                </c:pt>
                <c:pt idx="199">
                  <c:v>8.2916666666666661</c:v>
                </c:pt>
                <c:pt idx="200">
                  <c:v>8.3333333333333339</c:v>
                </c:pt>
                <c:pt idx="201">
                  <c:v>8.375</c:v>
                </c:pt>
                <c:pt idx="202">
                  <c:v>8.4166666666666661</c:v>
                </c:pt>
                <c:pt idx="203">
                  <c:v>8.4583333333333339</c:v>
                </c:pt>
                <c:pt idx="204">
                  <c:v>8.5</c:v>
                </c:pt>
                <c:pt idx="205">
                  <c:v>8.5416666666666661</c:v>
                </c:pt>
                <c:pt idx="206">
                  <c:v>8.5833333333333339</c:v>
                </c:pt>
                <c:pt idx="207">
                  <c:v>8.625</c:v>
                </c:pt>
                <c:pt idx="208">
                  <c:v>8.6666666666666661</c:v>
                </c:pt>
                <c:pt idx="209">
                  <c:v>8.7083333333333339</c:v>
                </c:pt>
                <c:pt idx="210">
                  <c:v>8.75</c:v>
                </c:pt>
                <c:pt idx="211">
                  <c:v>8.7916666666666661</c:v>
                </c:pt>
                <c:pt idx="212">
                  <c:v>8.8333333333333339</c:v>
                </c:pt>
                <c:pt idx="213">
                  <c:v>8.875</c:v>
                </c:pt>
                <c:pt idx="214">
                  <c:v>8.9166666666666661</c:v>
                </c:pt>
                <c:pt idx="215">
                  <c:v>8.9583333333333339</c:v>
                </c:pt>
                <c:pt idx="216">
                  <c:v>9</c:v>
                </c:pt>
                <c:pt idx="217">
                  <c:v>9.0416666666666661</c:v>
                </c:pt>
                <c:pt idx="218">
                  <c:v>9.0833333333333339</c:v>
                </c:pt>
                <c:pt idx="219">
                  <c:v>9.125</c:v>
                </c:pt>
                <c:pt idx="220">
                  <c:v>9.1666666666666661</c:v>
                </c:pt>
                <c:pt idx="221">
                  <c:v>9.2083333333333339</c:v>
                </c:pt>
                <c:pt idx="222">
                  <c:v>9.25</c:v>
                </c:pt>
                <c:pt idx="223">
                  <c:v>9.2916666666666661</c:v>
                </c:pt>
                <c:pt idx="224">
                  <c:v>9.3333333333333339</c:v>
                </c:pt>
                <c:pt idx="225">
                  <c:v>9.375</c:v>
                </c:pt>
                <c:pt idx="226">
                  <c:v>9.4166666666666661</c:v>
                </c:pt>
                <c:pt idx="227">
                  <c:v>9.4583333333333339</c:v>
                </c:pt>
                <c:pt idx="228">
                  <c:v>9.5</c:v>
                </c:pt>
                <c:pt idx="229">
                  <c:v>9.5416666666666661</c:v>
                </c:pt>
                <c:pt idx="230">
                  <c:v>9.5833333333333339</c:v>
                </c:pt>
                <c:pt idx="231">
                  <c:v>9.625</c:v>
                </c:pt>
                <c:pt idx="232">
                  <c:v>9.6666666666666661</c:v>
                </c:pt>
                <c:pt idx="233">
                  <c:v>9.7083333333333339</c:v>
                </c:pt>
                <c:pt idx="234">
                  <c:v>9.75</c:v>
                </c:pt>
                <c:pt idx="235">
                  <c:v>9.7916666666666661</c:v>
                </c:pt>
                <c:pt idx="236">
                  <c:v>9.8333333333333339</c:v>
                </c:pt>
                <c:pt idx="237">
                  <c:v>9.875</c:v>
                </c:pt>
                <c:pt idx="238">
                  <c:v>9.9166666666666661</c:v>
                </c:pt>
                <c:pt idx="239">
                  <c:v>9.9583333333333339</c:v>
                </c:pt>
                <c:pt idx="240">
                  <c:v>10</c:v>
                </c:pt>
                <c:pt idx="241">
                  <c:v>10.041666666666666</c:v>
                </c:pt>
                <c:pt idx="242">
                  <c:v>10.083333333333334</c:v>
                </c:pt>
                <c:pt idx="243">
                  <c:v>10.125</c:v>
                </c:pt>
                <c:pt idx="244">
                  <c:v>10.166666666666666</c:v>
                </c:pt>
                <c:pt idx="245">
                  <c:v>10.208333333333334</c:v>
                </c:pt>
                <c:pt idx="246">
                  <c:v>10.25</c:v>
                </c:pt>
                <c:pt idx="247">
                  <c:v>10.291666666666666</c:v>
                </c:pt>
                <c:pt idx="248">
                  <c:v>10.333333333333334</c:v>
                </c:pt>
                <c:pt idx="249">
                  <c:v>10.375</c:v>
                </c:pt>
                <c:pt idx="250">
                  <c:v>10.416666666666666</c:v>
                </c:pt>
                <c:pt idx="251">
                  <c:v>10.458333333333334</c:v>
                </c:pt>
                <c:pt idx="252">
                  <c:v>10.5</c:v>
                </c:pt>
                <c:pt idx="253">
                  <c:v>10.541666666666666</c:v>
                </c:pt>
                <c:pt idx="254">
                  <c:v>10.583333333333334</c:v>
                </c:pt>
                <c:pt idx="255">
                  <c:v>10.625</c:v>
                </c:pt>
                <c:pt idx="256">
                  <c:v>10.666666666666666</c:v>
                </c:pt>
                <c:pt idx="257">
                  <c:v>10.708333333333334</c:v>
                </c:pt>
                <c:pt idx="258">
                  <c:v>10.75</c:v>
                </c:pt>
                <c:pt idx="259">
                  <c:v>10.791666666666666</c:v>
                </c:pt>
                <c:pt idx="260">
                  <c:v>10.833333333333334</c:v>
                </c:pt>
                <c:pt idx="261">
                  <c:v>10.875</c:v>
                </c:pt>
                <c:pt idx="262">
                  <c:v>10.916666666666666</c:v>
                </c:pt>
                <c:pt idx="263">
                  <c:v>10.958333333333334</c:v>
                </c:pt>
                <c:pt idx="264">
                  <c:v>11</c:v>
                </c:pt>
                <c:pt idx="265">
                  <c:v>11.041666666666666</c:v>
                </c:pt>
                <c:pt idx="266">
                  <c:v>11.083333333333334</c:v>
                </c:pt>
                <c:pt idx="267">
                  <c:v>11.125</c:v>
                </c:pt>
                <c:pt idx="268">
                  <c:v>11.166666666666666</c:v>
                </c:pt>
                <c:pt idx="269">
                  <c:v>11.208333333333334</c:v>
                </c:pt>
                <c:pt idx="270">
                  <c:v>11.25</c:v>
                </c:pt>
                <c:pt idx="271">
                  <c:v>11.291666666666666</c:v>
                </c:pt>
                <c:pt idx="272">
                  <c:v>11.333333333333334</c:v>
                </c:pt>
                <c:pt idx="273">
                  <c:v>11.375</c:v>
                </c:pt>
                <c:pt idx="274">
                  <c:v>11.416666666666666</c:v>
                </c:pt>
                <c:pt idx="275">
                  <c:v>11.458333333333334</c:v>
                </c:pt>
                <c:pt idx="276">
                  <c:v>11.5</c:v>
                </c:pt>
                <c:pt idx="277">
                  <c:v>11.541666666666666</c:v>
                </c:pt>
                <c:pt idx="278">
                  <c:v>11.583333333333334</c:v>
                </c:pt>
                <c:pt idx="279">
                  <c:v>11.625</c:v>
                </c:pt>
                <c:pt idx="280">
                  <c:v>11.666666666666666</c:v>
                </c:pt>
                <c:pt idx="281">
                  <c:v>11.708333333333334</c:v>
                </c:pt>
                <c:pt idx="282">
                  <c:v>11.75</c:v>
                </c:pt>
                <c:pt idx="283">
                  <c:v>11.791666666666666</c:v>
                </c:pt>
                <c:pt idx="284">
                  <c:v>11.833333333333334</c:v>
                </c:pt>
                <c:pt idx="285">
                  <c:v>11.875</c:v>
                </c:pt>
                <c:pt idx="286">
                  <c:v>11.916666666666666</c:v>
                </c:pt>
                <c:pt idx="287">
                  <c:v>11.958333333333334</c:v>
                </c:pt>
                <c:pt idx="288">
                  <c:v>12</c:v>
                </c:pt>
                <c:pt idx="289">
                  <c:v>12.041666666666666</c:v>
                </c:pt>
                <c:pt idx="290">
                  <c:v>12.083333333333334</c:v>
                </c:pt>
                <c:pt idx="291">
                  <c:v>12.125</c:v>
                </c:pt>
                <c:pt idx="292">
                  <c:v>12.166666666666666</c:v>
                </c:pt>
                <c:pt idx="293">
                  <c:v>12.208333333333334</c:v>
                </c:pt>
                <c:pt idx="294">
                  <c:v>12.25</c:v>
                </c:pt>
                <c:pt idx="295">
                  <c:v>12.291666666666666</c:v>
                </c:pt>
                <c:pt idx="296">
                  <c:v>12.333333333333334</c:v>
                </c:pt>
                <c:pt idx="297">
                  <c:v>12.375</c:v>
                </c:pt>
                <c:pt idx="298">
                  <c:v>12.416666666666666</c:v>
                </c:pt>
                <c:pt idx="299">
                  <c:v>12.458333333333334</c:v>
                </c:pt>
                <c:pt idx="300">
                  <c:v>12.5</c:v>
                </c:pt>
                <c:pt idx="301">
                  <c:v>12.541666666666666</c:v>
                </c:pt>
                <c:pt idx="302">
                  <c:v>12.583333333333334</c:v>
                </c:pt>
                <c:pt idx="303">
                  <c:v>12.625</c:v>
                </c:pt>
                <c:pt idx="304">
                  <c:v>12.666666666666666</c:v>
                </c:pt>
                <c:pt idx="305">
                  <c:v>12.708333333333334</c:v>
                </c:pt>
                <c:pt idx="306">
                  <c:v>12.75</c:v>
                </c:pt>
                <c:pt idx="307">
                  <c:v>12.791666666666666</c:v>
                </c:pt>
                <c:pt idx="308">
                  <c:v>12.833333333333334</c:v>
                </c:pt>
                <c:pt idx="309">
                  <c:v>12.875</c:v>
                </c:pt>
                <c:pt idx="310">
                  <c:v>12.916666666666666</c:v>
                </c:pt>
                <c:pt idx="311">
                  <c:v>12.958333333333334</c:v>
                </c:pt>
                <c:pt idx="312">
                  <c:v>13</c:v>
                </c:pt>
                <c:pt idx="313">
                  <c:v>13.041666666666666</c:v>
                </c:pt>
                <c:pt idx="314">
                  <c:v>13.083333333333334</c:v>
                </c:pt>
                <c:pt idx="315">
                  <c:v>13.125</c:v>
                </c:pt>
                <c:pt idx="316">
                  <c:v>13.166666666666666</c:v>
                </c:pt>
                <c:pt idx="317">
                  <c:v>13.208333333333334</c:v>
                </c:pt>
                <c:pt idx="318">
                  <c:v>13.25</c:v>
                </c:pt>
                <c:pt idx="319">
                  <c:v>13.291666666666666</c:v>
                </c:pt>
                <c:pt idx="320">
                  <c:v>13.333333333333334</c:v>
                </c:pt>
                <c:pt idx="321">
                  <c:v>13.375</c:v>
                </c:pt>
                <c:pt idx="322">
                  <c:v>13.416666666666666</c:v>
                </c:pt>
                <c:pt idx="323">
                  <c:v>13.458333333333334</c:v>
                </c:pt>
                <c:pt idx="324">
                  <c:v>13.5</c:v>
                </c:pt>
                <c:pt idx="325">
                  <c:v>13.541666666666666</c:v>
                </c:pt>
                <c:pt idx="326">
                  <c:v>13.583333333333334</c:v>
                </c:pt>
                <c:pt idx="327">
                  <c:v>13.625</c:v>
                </c:pt>
                <c:pt idx="328">
                  <c:v>13.666666666666666</c:v>
                </c:pt>
                <c:pt idx="329">
                  <c:v>13.708333333333334</c:v>
                </c:pt>
                <c:pt idx="330">
                  <c:v>13.75</c:v>
                </c:pt>
                <c:pt idx="331">
                  <c:v>13.791666666666666</c:v>
                </c:pt>
                <c:pt idx="332">
                  <c:v>13.833333333333334</c:v>
                </c:pt>
                <c:pt idx="333">
                  <c:v>13.875</c:v>
                </c:pt>
                <c:pt idx="334">
                  <c:v>13.916666666666666</c:v>
                </c:pt>
                <c:pt idx="335">
                  <c:v>13.958333333333334</c:v>
                </c:pt>
                <c:pt idx="336">
                  <c:v>14</c:v>
                </c:pt>
                <c:pt idx="337">
                  <c:v>14.041666666666666</c:v>
                </c:pt>
                <c:pt idx="338">
                  <c:v>14.083333333333334</c:v>
                </c:pt>
                <c:pt idx="339">
                  <c:v>14.125</c:v>
                </c:pt>
                <c:pt idx="340">
                  <c:v>14.166666666666666</c:v>
                </c:pt>
                <c:pt idx="341">
                  <c:v>14.208333333333334</c:v>
                </c:pt>
                <c:pt idx="342">
                  <c:v>14.25</c:v>
                </c:pt>
                <c:pt idx="343">
                  <c:v>14.291666666666666</c:v>
                </c:pt>
                <c:pt idx="344">
                  <c:v>14.333333333333334</c:v>
                </c:pt>
                <c:pt idx="345">
                  <c:v>14.375</c:v>
                </c:pt>
                <c:pt idx="346">
                  <c:v>14.416666666666666</c:v>
                </c:pt>
                <c:pt idx="347">
                  <c:v>14.458333333333334</c:v>
                </c:pt>
                <c:pt idx="348">
                  <c:v>14.5</c:v>
                </c:pt>
                <c:pt idx="349">
                  <c:v>14.541666666666666</c:v>
                </c:pt>
                <c:pt idx="350">
                  <c:v>14.583333333333334</c:v>
                </c:pt>
                <c:pt idx="351">
                  <c:v>14.625</c:v>
                </c:pt>
                <c:pt idx="352">
                  <c:v>14.666666666666666</c:v>
                </c:pt>
                <c:pt idx="353">
                  <c:v>14.708333333333334</c:v>
                </c:pt>
                <c:pt idx="354">
                  <c:v>14.75</c:v>
                </c:pt>
                <c:pt idx="355">
                  <c:v>14.791666666666666</c:v>
                </c:pt>
                <c:pt idx="356">
                  <c:v>14.833333333333334</c:v>
                </c:pt>
                <c:pt idx="357">
                  <c:v>14.875</c:v>
                </c:pt>
                <c:pt idx="358">
                  <c:v>14.916666666666666</c:v>
                </c:pt>
                <c:pt idx="359">
                  <c:v>14.958333333333334</c:v>
                </c:pt>
                <c:pt idx="360">
                  <c:v>15</c:v>
                </c:pt>
                <c:pt idx="361">
                  <c:v>15.041666666666666</c:v>
                </c:pt>
                <c:pt idx="362">
                  <c:v>15.083333333333334</c:v>
                </c:pt>
                <c:pt idx="363">
                  <c:v>15.125</c:v>
                </c:pt>
                <c:pt idx="364">
                  <c:v>15.166666666666666</c:v>
                </c:pt>
                <c:pt idx="365">
                  <c:v>15.208333333333334</c:v>
                </c:pt>
                <c:pt idx="366">
                  <c:v>15.25</c:v>
                </c:pt>
                <c:pt idx="367">
                  <c:v>15.291666666666666</c:v>
                </c:pt>
                <c:pt idx="368">
                  <c:v>15.333333333333334</c:v>
                </c:pt>
                <c:pt idx="369">
                  <c:v>15.375</c:v>
                </c:pt>
                <c:pt idx="370">
                  <c:v>15.416666666666666</c:v>
                </c:pt>
                <c:pt idx="371">
                  <c:v>15.458333333333334</c:v>
                </c:pt>
                <c:pt idx="372">
                  <c:v>15.5</c:v>
                </c:pt>
                <c:pt idx="373">
                  <c:v>15.541666666666666</c:v>
                </c:pt>
                <c:pt idx="374">
                  <c:v>15.583333333333334</c:v>
                </c:pt>
                <c:pt idx="375">
                  <c:v>15.625</c:v>
                </c:pt>
                <c:pt idx="376">
                  <c:v>15.666666666666666</c:v>
                </c:pt>
                <c:pt idx="377">
                  <c:v>15.708333333333334</c:v>
                </c:pt>
                <c:pt idx="378">
                  <c:v>15.75</c:v>
                </c:pt>
                <c:pt idx="379">
                  <c:v>15.791666666666666</c:v>
                </c:pt>
                <c:pt idx="380">
                  <c:v>15.833333333333334</c:v>
                </c:pt>
                <c:pt idx="381">
                  <c:v>15.875</c:v>
                </c:pt>
                <c:pt idx="382">
                  <c:v>15.916666666666666</c:v>
                </c:pt>
                <c:pt idx="383">
                  <c:v>15.958333333333334</c:v>
                </c:pt>
                <c:pt idx="384">
                  <c:v>16</c:v>
                </c:pt>
                <c:pt idx="385">
                  <c:v>16.041666666666668</c:v>
                </c:pt>
                <c:pt idx="386">
                  <c:v>16.083333333333332</c:v>
                </c:pt>
                <c:pt idx="387">
                  <c:v>16.125</c:v>
                </c:pt>
                <c:pt idx="388">
                  <c:v>16.166666666666668</c:v>
                </c:pt>
                <c:pt idx="389">
                  <c:v>16.208333333333332</c:v>
                </c:pt>
                <c:pt idx="390">
                  <c:v>16.25</c:v>
                </c:pt>
                <c:pt idx="391">
                  <c:v>16.291666666666668</c:v>
                </c:pt>
                <c:pt idx="392">
                  <c:v>16.333333333333332</c:v>
                </c:pt>
                <c:pt idx="393">
                  <c:v>16.375</c:v>
                </c:pt>
                <c:pt idx="394">
                  <c:v>16.416666666666668</c:v>
                </c:pt>
                <c:pt idx="395">
                  <c:v>16.458333333333332</c:v>
                </c:pt>
                <c:pt idx="396">
                  <c:v>16.5</c:v>
                </c:pt>
                <c:pt idx="397">
                  <c:v>16.541666666666668</c:v>
                </c:pt>
                <c:pt idx="398">
                  <c:v>16.583333333333332</c:v>
                </c:pt>
                <c:pt idx="399">
                  <c:v>16.625</c:v>
                </c:pt>
                <c:pt idx="400">
                  <c:v>16.666666666666668</c:v>
                </c:pt>
                <c:pt idx="401">
                  <c:v>16.708333333333332</c:v>
                </c:pt>
                <c:pt idx="402">
                  <c:v>16.75</c:v>
                </c:pt>
                <c:pt idx="403">
                  <c:v>16.791666666666668</c:v>
                </c:pt>
                <c:pt idx="404">
                  <c:v>16.833333333333332</c:v>
                </c:pt>
                <c:pt idx="405">
                  <c:v>16.875</c:v>
                </c:pt>
                <c:pt idx="406">
                  <c:v>16.916666666666668</c:v>
                </c:pt>
                <c:pt idx="407">
                  <c:v>16.958333333333332</c:v>
                </c:pt>
                <c:pt idx="408">
                  <c:v>17</c:v>
                </c:pt>
                <c:pt idx="409">
                  <c:v>17.041666666666668</c:v>
                </c:pt>
                <c:pt idx="410">
                  <c:v>17.083333333333332</c:v>
                </c:pt>
                <c:pt idx="411">
                  <c:v>17.125</c:v>
                </c:pt>
                <c:pt idx="412">
                  <c:v>17.166666666666668</c:v>
                </c:pt>
                <c:pt idx="413">
                  <c:v>17.208333333333332</c:v>
                </c:pt>
                <c:pt idx="414">
                  <c:v>17.25</c:v>
                </c:pt>
                <c:pt idx="415">
                  <c:v>17.291666666666668</c:v>
                </c:pt>
                <c:pt idx="416">
                  <c:v>17.333333333333332</c:v>
                </c:pt>
                <c:pt idx="417">
                  <c:v>17.375</c:v>
                </c:pt>
                <c:pt idx="418">
                  <c:v>17.416666666666668</c:v>
                </c:pt>
                <c:pt idx="419">
                  <c:v>17.458333333333332</c:v>
                </c:pt>
                <c:pt idx="420">
                  <c:v>17.5</c:v>
                </c:pt>
                <c:pt idx="421">
                  <c:v>17.541666666666668</c:v>
                </c:pt>
                <c:pt idx="422">
                  <c:v>17.583333333333332</c:v>
                </c:pt>
                <c:pt idx="423">
                  <c:v>17.625</c:v>
                </c:pt>
                <c:pt idx="424">
                  <c:v>17.666666666666668</c:v>
                </c:pt>
                <c:pt idx="425">
                  <c:v>17.708333333333332</c:v>
                </c:pt>
                <c:pt idx="426">
                  <c:v>17.75</c:v>
                </c:pt>
                <c:pt idx="427">
                  <c:v>17.791666666666668</c:v>
                </c:pt>
                <c:pt idx="428">
                  <c:v>17.833333333333332</c:v>
                </c:pt>
                <c:pt idx="429">
                  <c:v>17.875</c:v>
                </c:pt>
                <c:pt idx="430">
                  <c:v>17.916666666666668</c:v>
                </c:pt>
                <c:pt idx="431">
                  <c:v>17.958333333333332</c:v>
                </c:pt>
                <c:pt idx="432">
                  <c:v>18</c:v>
                </c:pt>
                <c:pt idx="433">
                  <c:v>18.041666666666668</c:v>
                </c:pt>
                <c:pt idx="434">
                  <c:v>18.083333333333332</c:v>
                </c:pt>
                <c:pt idx="435">
                  <c:v>18.125</c:v>
                </c:pt>
                <c:pt idx="436">
                  <c:v>18.166666666666668</c:v>
                </c:pt>
                <c:pt idx="437">
                  <c:v>18.208333333333332</c:v>
                </c:pt>
                <c:pt idx="438">
                  <c:v>18.25</c:v>
                </c:pt>
                <c:pt idx="439">
                  <c:v>18.291666666666668</c:v>
                </c:pt>
                <c:pt idx="440">
                  <c:v>18.333333333333332</c:v>
                </c:pt>
                <c:pt idx="441">
                  <c:v>18.375</c:v>
                </c:pt>
                <c:pt idx="442">
                  <c:v>18.416666666666668</c:v>
                </c:pt>
                <c:pt idx="443">
                  <c:v>18.458333333333332</c:v>
                </c:pt>
                <c:pt idx="444">
                  <c:v>18.5</c:v>
                </c:pt>
                <c:pt idx="445">
                  <c:v>18.541666666666668</c:v>
                </c:pt>
                <c:pt idx="446">
                  <c:v>18.583333333333332</c:v>
                </c:pt>
                <c:pt idx="447">
                  <c:v>18.625</c:v>
                </c:pt>
                <c:pt idx="448">
                  <c:v>18.666666666666668</c:v>
                </c:pt>
                <c:pt idx="449">
                  <c:v>18.708333333333332</c:v>
                </c:pt>
                <c:pt idx="450">
                  <c:v>18.75</c:v>
                </c:pt>
                <c:pt idx="451">
                  <c:v>18.791666666666668</c:v>
                </c:pt>
                <c:pt idx="452">
                  <c:v>18.833333333333332</c:v>
                </c:pt>
                <c:pt idx="453">
                  <c:v>18.875</c:v>
                </c:pt>
                <c:pt idx="454">
                  <c:v>18.916666666666668</c:v>
                </c:pt>
                <c:pt idx="455">
                  <c:v>18.958333333333332</c:v>
                </c:pt>
                <c:pt idx="456">
                  <c:v>19</c:v>
                </c:pt>
                <c:pt idx="457">
                  <c:v>19.041666666666668</c:v>
                </c:pt>
                <c:pt idx="458">
                  <c:v>19.083333333333332</c:v>
                </c:pt>
                <c:pt idx="459">
                  <c:v>19.125</c:v>
                </c:pt>
                <c:pt idx="460">
                  <c:v>19.166666666666668</c:v>
                </c:pt>
                <c:pt idx="461">
                  <c:v>19.208333333333332</c:v>
                </c:pt>
                <c:pt idx="462">
                  <c:v>19.25</c:v>
                </c:pt>
                <c:pt idx="463">
                  <c:v>19.291666666666668</c:v>
                </c:pt>
                <c:pt idx="464">
                  <c:v>19.333333333333332</c:v>
                </c:pt>
                <c:pt idx="465">
                  <c:v>19.375</c:v>
                </c:pt>
                <c:pt idx="466">
                  <c:v>19.416666666666668</c:v>
                </c:pt>
                <c:pt idx="467">
                  <c:v>19.458333333333332</c:v>
                </c:pt>
                <c:pt idx="468">
                  <c:v>19.5</c:v>
                </c:pt>
                <c:pt idx="469">
                  <c:v>19.541666666666668</c:v>
                </c:pt>
                <c:pt idx="470">
                  <c:v>19.583333333333332</c:v>
                </c:pt>
                <c:pt idx="471">
                  <c:v>19.625</c:v>
                </c:pt>
                <c:pt idx="472">
                  <c:v>19.666666666666668</c:v>
                </c:pt>
                <c:pt idx="473">
                  <c:v>19.708333333333332</c:v>
                </c:pt>
                <c:pt idx="474">
                  <c:v>19.75</c:v>
                </c:pt>
                <c:pt idx="475">
                  <c:v>19.791666666666668</c:v>
                </c:pt>
                <c:pt idx="476">
                  <c:v>19.833333333333332</c:v>
                </c:pt>
                <c:pt idx="477">
                  <c:v>19.875</c:v>
                </c:pt>
                <c:pt idx="478">
                  <c:v>19.916666666666668</c:v>
                </c:pt>
                <c:pt idx="479">
                  <c:v>19.958333333333332</c:v>
                </c:pt>
                <c:pt idx="480">
                  <c:v>20</c:v>
                </c:pt>
                <c:pt idx="481">
                  <c:v>20.041666666666668</c:v>
                </c:pt>
                <c:pt idx="482">
                  <c:v>20.083333333333332</c:v>
                </c:pt>
                <c:pt idx="483">
                  <c:v>20.125</c:v>
                </c:pt>
                <c:pt idx="484">
                  <c:v>20.166666666666668</c:v>
                </c:pt>
                <c:pt idx="485">
                  <c:v>20.208333333333332</c:v>
                </c:pt>
                <c:pt idx="486">
                  <c:v>20.25</c:v>
                </c:pt>
                <c:pt idx="487">
                  <c:v>20.291666666666668</c:v>
                </c:pt>
                <c:pt idx="488">
                  <c:v>20.333333333333332</c:v>
                </c:pt>
                <c:pt idx="489">
                  <c:v>20.375</c:v>
                </c:pt>
                <c:pt idx="490">
                  <c:v>20.416666666666668</c:v>
                </c:pt>
                <c:pt idx="491">
                  <c:v>20.458333333333332</c:v>
                </c:pt>
                <c:pt idx="492">
                  <c:v>20.5</c:v>
                </c:pt>
                <c:pt idx="493">
                  <c:v>20.541666666666668</c:v>
                </c:pt>
                <c:pt idx="494">
                  <c:v>20.583333333333332</c:v>
                </c:pt>
                <c:pt idx="495">
                  <c:v>20.625</c:v>
                </c:pt>
                <c:pt idx="496">
                  <c:v>20.666666666666668</c:v>
                </c:pt>
                <c:pt idx="497">
                  <c:v>20.708333333333332</c:v>
                </c:pt>
                <c:pt idx="498">
                  <c:v>20.75</c:v>
                </c:pt>
                <c:pt idx="499">
                  <c:v>20.791666666666668</c:v>
                </c:pt>
                <c:pt idx="500">
                  <c:v>20.833333333333332</c:v>
                </c:pt>
                <c:pt idx="501">
                  <c:v>20.875</c:v>
                </c:pt>
                <c:pt idx="502">
                  <c:v>20.916666666666668</c:v>
                </c:pt>
                <c:pt idx="503">
                  <c:v>20.958333333333332</c:v>
                </c:pt>
                <c:pt idx="504">
                  <c:v>21</c:v>
                </c:pt>
                <c:pt idx="505">
                  <c:v>21.041666666666668</c:v>
                </c:pt>
                <c:pt idx="506">
                  <c:v>21.083333333333332</c:v>
                </c:pt>
                <c:pt idx="507">
                  <c:v>21.125</c:v>
                </c:pt>
                <c:pt idx="508">
                  <c:v>21.166666666666668</c:v>
                </c:pt>
                <c:pt idx="509">
                  <c:v>21.208333333333332</c:v>
                </c:pt>
                <c:pt idx="510">
                  <c:v>21.25</c:v>
                </c:pt>
                <c:pt idx="511">
                  <c:v>21.291666666666668</c:v>
                </c:pt>
                <c:pt idx="512">
                  <c:v>21.333333333333332</c:v>
                </c:pt>
                <c:pt idx="513">
                  <c:v>21.375</c:v>
                </c:pt>
                <c:pt idx="514">
                  <c:v>21.416666666666668</c:v>
                </c:pt>
                <c:pt idx="515">
                  <c:v>21.458333333333332</c:v>
                </c:pt>
                <c:pt idx="516">
                  <c:v>21.5</c:v>
                </c:pt>
                <c:pt idx="517">
                  <c:v>21.541666666666668</c:v>
                </c:pt>
                <c:pt idx="518">
                  <c:v>21.583333333333332</c:v>
                </c:pt>
                <c:pt idx="519">
                  <c:v>21.625</c:v>
                </c:pt>
                <c:pt idx="520">
                  <c:v>21.666666666666668</c:v>
                </c:pt>
                <c:pt idx="521">
                  <c:v>21.708333333333332</c:v>
                </c:pt>
                <c:pt idx="522">
                  <c:v>21.75</c:v>
                </c:pt>
                <c:pt idx="523">
                  <c:v>21.791666666666668</c:v>
                </c:pt>
                <c:pt idx="524">
                  <c:v>21.833333333333332</c:v>
                </c:pt>
                <c:pt idx="525">
                  <c:v>21.875</c:v>
                </c:pt>
                <c:pt idx="526">
                  <c:v>21.916666666666668</c:v>
                </c:pt>
                <c:pt idx="527">
                  <c:v>21.958333333333332</c:v>
                </c:pt>
                <c:pt idx="528">
                  <c:v>22</c:v>
                </c:pt>
                <c:pt idx="529">
                  <c:v>22.041666666666668</c:v>
                </c:pt>
                <c:pt idx="530">
                  <c:v>22.083333333333332</c:v>
                </c:pt>
                <c:pt idx="531">
                  <c:v>22.125</c:v>
                </c:pt>
                <c:pt idx="532">
                  <c:v>22.166666666666668</c:v>
                </c:pt>
                <c:pt idx="533">
                  <c:v>22.208333333333332</c:v>
                </c:pt>
                <c:pt idx="534">
                  <c:v>22.25</c:v>
                </c:pt>
                <c:pt idx="535">
                  <c:v>22.291666666666668</c:v>
                </c:pt>
                <c:pt idx="536">
                  <c:v>22.333333333333332</c:v>
                </c:pt>
                <c:pt idx="537">
                  <c:v>22.375</c:v>
                </c:pt>
                <c:pt idx="538">
                  <c:v>22.416666666666668</c:v>
                </c:pt>
                <c:pt idx="539">
                  <c:v>22.458333333333332</c:v>
                </c:pt>
                <c:pt idx="540">
                  <c:v>22.5</c:v>
                </c:pt>
                <c:pt idx="541">
                  <c:v>22.541666666666668</c:v>
                </c:pt>
                <c:pt idx="542">
                  <c:v>22.583333333333332</c:v>
                </c:pt>
                <c:pt idx="543">
                  <c:v>22.625</c:v>
                </c:pt>
                <c:pt idx="544">
                  <c:v>22.666666666666668</c:v>
                </c:pt>
                <c:pt idx="545">
                  <c:v>22.708333333333332</c:v>
                </c:pt>
                <c:pt idx="546">
                  <c:v>22.75</c:v>
                </c:pt>
                <c:pt idx="547">
                  <c:v>22.791666666666668</c:v>
                </c:pt>
                <c:pt idx="548">
                  <c:v>22.833333333333332</c:v>
                </c:pt>
                <c:pt idx="549">
                  <c:v>22.875</c:v>
                </c:pt>
                <c:pt idx="550">
                  <c:v>22.916666666666668</c:v>
                </c:pt>
                <c:pt idx="551">
                  <c:v>22.958333333333332</c:v>
                </c:pt>
                <c:pt idx="552">
                  <c:v>23</c:v>
                </c:pt>
                <c:pt idx="553">
                  <c:v>23.041666666666668</c:v>
                </c:pt>
                <c:pt idx="554">
                  <c:v>23.083333333333332</c:v>
                </c:pt>
                <c:pt idx="555">
                  <c:v>23.125</c:v>
                </c:pt>
                <c:pt idx="556">
                  <c:v>23.166666666666668</c:v>
                </c:pt>
                <c:pt idx="557">
                  <c:v>23.208333333333332</c:v>
                </c:pt>
                <c:pt idx="558">
                  <c:v>23.25</c:v>
                </c:pt>
                <c:pt idx="559">
                  <c:v>23.291666666666668</c:v>
                </c:pt>
                <c:pt idx="560">
                  <c:v>23.333333333333332</c:v>
                </c:pt>
                <c:pt idx="561">
                  <c:v>23.375</c:v>
                </c:pt>
                <c:pt idx="562">
                  <c:v>23.416666666666668</c:v>
                </c:pt>
                <c:pt idx="563">
                  <c:v>23.458333333333332</c:v>
                </c:pt>
                <c:pt idx="564">
                  <c:v>23.5</c:v>
                </c:pt>
                <c:pt idx="565">
                  <c:v>23.541666666666668</c:v>
                </c:pt>
                <c:pt idx="566">
                  <c:v>23.583333333333332</c:v>
                </c:pt>
                <c:pt idx="567">
                  <c:v>23.625</c:v>
                </c:pt>
                <c:pt idx="568">
                  <c:v>23.666666666666668</c:v>
                </c:pt>
                <c:pt idx="569">
                  <c:v>23.708333333333332</c:v>
                </c:pt>
                <c:pt idx="570">
                  <c:v>23.75</c:v>
                </c:pt>
                <c:pt idx="571">
                  <c:v>23.791666666666668</c:v>
                </c:pt>
                <c:pt idx="572">
                  <c:v>23.833333333333332</c:v>
                </c:pt>
                <c:pt idx="573">
                  <c:v>23.875</c:v>
                </c:pt>
                <c:pt idx="574">
                  <c:v>23.916666666666668</c:v>
                </c:pt>
                <c:pt idx="575">
                  <c:v>23.958333333333332</c:v>
                </c:pt>
                <c:pt idx="576">
                  <c:v>24</c:v>
                </c:pt>
                <c:pt idx="577">
                  <c:v>24.041666666666668</c:v>
                </c:pt>
                <c:pt idx="578">
                  <c:v>24.083333333333332</c:v>
                </c:pt>
                <c:pt idx="579">
                  <c:v>24.125</c:v>
                </c:pt>
                <c:pt idx="580">
                  <c:v>24.166666666666668</c:v>
                </c:pt>
                <c:pt idx="581">
                  <c:v>24.208333333333332</c:v>
                </c:pt>
                <c:pt idx="582">
                  <c:v>24.25</c:v>
                </c:pt>
                <c:pt idx="583">
                  <c:v>24.291666666666668</c:v>
                </c:pt>
                <c:pt idx="584">
                  <c:v>24.333333333333332</c:v>
                </c:pt>
                <c:pt idx="585">
                  <c:v>24.375</c:v>
                </c:pt>
                <c:pt idx="586">
                  <c:v>24.416666666666668</c:v>
                </c:pt>
                <c:pt idx="587">
                  <c:v>24.458333333333332</c:v>
                </c:pt>
                <c:pt idx="588">
                  <c:v>24.5</c:v>
                </c:pt>
                <c:pt idx="589">
                  <c:v>24.541666666666668</c:v>
                </c:pt>
                <c:pt idx="590">
                  <c:v>24.583333333333332</c:v>
                </c:pt>
                <c:pt idx="591">
                  <c:v>24.625</c:v>
                </c:pt>
                <c:pt idx="592">
                  <c:v>24.666666666666668</c:v>
                </c:pt>
                <c:pt idx="593">
                  <c:v>24.708333333333332</c:v>
                </c:pt>
                <c:pt idx="594">
                  <c:v>24.75</c:v>
                </c:pt>
                <c:pt idx="595">
                  <c:v>24.791666666666668</c:v>
                </c:pt>
                <c:pt idx="596">
                  <c:v>24.833333333333332</c:v>
                </c:pt>
                <c:pt idx="597">
                  <c:v>24.875</c:v>
                </c:pt>
                <c:pt idx="598">
                  <c:v>24.916666666666668</c:v>
                </c:pt>
                <c:pt idx="599">
                  <c:v>24.958333333333332</c:v>
                </c:pt>
                <c:pt idx="600">
                  <c:v>25</c:v>
                </c:pt>
                <c:pt idx="601">
                  <c:v>25.041666666666668</c:v>
                </c:pt>
                <c:pt idx="602">
                  <c:v>25.083333333333332</c:v>
                </c:pt>
                <c:pt idx="603">
                  <c:v>25.125</c:v>
                </c:pt>
                <c:pt idx="604">
                  <c:v>25.166666666666668</c:v>
                </c:pt>
                <c:pt idx="605">
                  <c:v>25.208333333333332</c:v>
                </c:pt>
                <c:pt idx="606">
                  <c:v>25.25</c:v>
                </c:pt>
                <c:pt idx="607">
                  <c:v>25.291666666666668</c:v>
                </c:pt>
                <c:pt idx="608">
                  <c:v>25.333333333333332</c:v>
                </c:pt>
                <c:pt idx="609">
                  <c:v>25.375</c:v>
                </c:pt>
                <c:pt idx="610">
                  <c:v>25.416666666666668</c:v>
                </c:pt>
                <c:pt idx="611">
                  <c:v>25.458333333333332</c:v>
                </c:pt>
                <c:pt idx="612">
                  <c:v>25.5</c:v>
                </c:pt>
                <c:pt idx="613">
                  <c:v>25.541666666666668</c:v>
                </c:pt>
                <c:pt idx="614">
                  <c:v>25.583333333333332</c:v>
                </c:pt>
                <c:pt idx="615">
                  <c:v>25.625</c:v>
                </c:pt>
                <c:pt idx="616">
                  <c:v>25.666666666666668</c:v>
                </c:pt>
                <c:pt idx="617">
                  <c:v>25.708333333333332</c:v>
                </c:pt>
                <c:pt idx="618">
                  <c:v>25.75</c:v>
                </c:pt>
                <c:pt idx="619">
                  <c:v>25.791666666666668</c:v>
                </c:pt>
                <c:pt idx="620">
                  <c:v>25.833333333333332</c:v>
                </c:pt>
                <c:pt idx="621">
                  <c:v>25.875</c:v>
                </c:pt>
                <c:pt idx="622">
                  <c:v>25.916666666666668</c:v>
                </c:pt>
                <c:pt idx="623">
                  <c:v>25.958333333333332</c:v>
                </c:pt>
                <c:pt idx="624">
                  <c:v>26</c:v>
                </c:pt>
                <c:pt idx="625">
                  <c:v>26.041666666666668</c:v>
                </c:pt>
                <c:pt idx="626">
                  <c:v>26.083333333333332</c:v>
                </c:pt>
                <c:pt idx="627">
                  <c:v>26.125</c:v>
                </c:pt>
                <c:pt idx="628">
                  <c:v>26.166666666666668</c:v>
                </c:pt>
                <c:pt idx="629">
                  <c:v>26.208333333333332</c:v>
                </c:pt>
                <c:pt idx="630">
                  <c:v>26.25</c:v>
                </c:pt>
                <c:pt idx="631">
                  <c:v>26.291666666666668</c:v>
                </c:pt>
                <c:pt idx="632">
                  <c:v>26.333333333333332</c:v>
                </c:pt>
                <c:pt idx="633">
                  <c:v>26.375</c:v>
                </c:pt>
                <c:pt idx="634">
                  <c:v>26.416666666666668</c:v>
                </c:pt>
                <c:pt idx="635">
                  <c:v>26.458333333333332</c:v>
                </c:pt>
                <c:pt idx="636">
                  <c:v>26.5</c:v>
                </c:pt>
                <c:pt idx="637">
                  <c:v>26.541666666666668</c:v>
                </c:pt>
                <c:pt idx="638">
                  <c:v>26.583333333333332</c:v>
                </c:pt>
                <c:pt idx="639">
                  <c:v>26.625</c:v>
                </c:pt>
                <c:pt idx="640">
                  <c:v>26.666666666666668</c:v>
                </c:pt>
                <c:pt idx="641">
                  <c:v>26.708333333333332</c:v>
                </c:pt>
                <c:pt idx="642">
                  <c:v>26.75</c:v>
                </c:pt>
                <c:pt idx="643">
                  <c:v>26.791666666666668</c:v>
                </c:pt>
                <c:pt idx="644">
                  <c:v>26.833333333333332</c:v>
                </c:pt>
                <c:pt idx="645">
                  <c:v>26.875</c:v>
                </c:pt>
                <c:pt idx="646">
                  <c:v>26.916666666666668</c:v>
                </c:pt>
                <c:pt idx="647">
                  <c:v>26.958333333333332</c:v>
                </c:pt>
                <c:pt idx="648">
                  <c:v>27</c:v>
                </c:pt>
                <c:pt idx="649">
                  <c:v>27.041666666666668</c:v>
                </c:pt>
                <c:pt idx="650">
                  <c:v>27.083333333333332</c:v>
                </c:pt>
                <c:pt idx="651">
                  <c:v>27.125</c:v>
                </c:pt>
                <c:pt idx="652">
                  <c:v>27.166666666666668</c:v>
                </c:pt>
                <c:pt idx="653">
                  <c:v>27.208333333333332</c:v>
                </c:pt>
                <c:pt idx="654">
                  <c:v>27.25</c:v>
                </c:pt>
                <c:pt idx="655">
                  <c:v>27.291666666666668</c:v>
                </c:pt>
                <c:pt idx="656">
                  <c:v>27.333333333333332</c:v>
                </c:pt>
                <c:pt idx="657">
                  <c:v>27.375</c:v>
                </c:pt>
                <c:pt idx="658">
                  <c:v>27.416666666666668</c:v>
                </c:pt>
                <c:pt idx="659">
                  <c:v>27.458333333333332</c:v>
                </c:pt>
                <c:pt idx="660">
                  <c:v>27.5</c:v>
                </c:pt>
                <c:pt idx="661">
                  <c:v>27.541666666666668</c:v>
                </c:pt>
                <c:pt idx="662">
                  <c:v>27.583333333333332</c:v>
                </c:pt>
                <c:pt idx="663">
                  <c:v>27.625</c:v>
                </c:pt>
                <c:pt idx="664">
                  <c:v>27.666666666666668</c:v>
                </c:pt>
                <c:pt idx="665">
                  <c:v>27.708333333333332</c:v>
                </c:pt>
                <c:pt idx="666">
                  <c:v>27.75</c:v>
                </c:pt>
                <c:pt idx="667">
                  <c:v>27.791666666666668</c:v>
                </c:pt>
              </c:numCache>
            </c:numRef>
          </c:xVal>
          <c:yVal>
            <c:numRef>
              <c:f>'p comp stirred vs unstirred'!$I$5:$I$673</c:f>
              <c:numCache>
                <c:formatCode>General</c:formatCode>
                <c:ptCount val="669"/>
                <c:pt idx="0">
                  <c:v>0</c:v>
                </c:pt>
                <c:pt idx="1">
                  <c:v>36.666666666666664</c:v>
                </c:pt>
                <c:pt idx="2">
                  <c:v>72</c:v>
                </c:pt>
                <c:pt idx="3">
                  <c:v>89.666666666666671</c:v>
                </c:pt>
                <c:pt idx="4">
                  <c:v>103.33333333333333</c:v>
                </c:pt>
                <c:pt idx="5">
                  <c:v>114.66666666666667</c:v>
                </c:pt>
                <c:pt idx="6">
                  <c:v>123.33333333333333</c:v>
                </c:pt>
                <c:pt idx="7">
                  <c:v>130.66666666666666</c:v>
                </c:pt>
                <c:pt idx="8">
                  <c:v>136.33333333333334</c:v>
                </c:pt>
                <c:pt idx="9">
                  <c:v>142.33333333333334</c:v>
                </c:pt>
                <c:pt idx="10">
                  <c:v>147.33333333333334</c:v>
                </c:pt>
                <c:pt idx="11">
                  <c:v>153.66666666666666</c:v>
                </c:pt>
                <c:pt idx="12">
                  <c:v>158.33333333333334</c:v>
                </c:pt>
                <c:pt idx="13">
                  <c:v>162.33333333333334</c:v>
                </c:pt>
                <c:pt idx="14">
                  <c:v>165.33333333333334</c:v>
                </c:pt>
                <c:pt idx="15">
                  <c:v>169</c:v>
                </c:pt>
                <c:pt idx="16">
                  <c:v>171.66666666666666</c:v>
                </c:pt>
                <c:pt idx="17">
                  <c:v>174.33333333333334</c:v>
                </c:pt>
                <c:pt idx="18">
                  <c:v>177.33333333333334</c:v>
                </c:pt>
                <c:pt idx="19">
                  <c:v>179</c:v>
                </c:pt>
                <c:pt idx="20">
                  <c:v>184.33333333333334</c:v>
                </c:pt>
                <c:pt idx="21">
                  <c:v>190.33333333333334</c:v>
                </c:pt>
                <c:pt idx="22">
                  <c:v>194</c:v>
                </c:pt>
                <c:pt idx="23">
                  <c:v>196</c:v>
                </c:pt>
                <c:pt idx="24">
                  <c:v>199.33333333333334</c:v>
                </c:pt>
                <c:pt idx="25">
                  <c:v>203.66666666666666</c:v>
                </c:pt>
                <c:pt idx="26">
                  <c:v>208.66666666666666</c:v>
                </c:pt>
                <c:pt idx="27">
                  <c:v>238.33333333333334</c:v>
                </c:pt>
                <c:pt idx="28">
                  <c:v>256.33333333333331</c:v>
                </c:pt>
                <c:pt idx="29">
                  <c:v>261</c:v>
                </c:pt>
                <c:pt idx="30">
                  <c:v>265</c:v>
                </c:pt>
                <c:pt idx="31">
                  <c:v>268</c:v>
                </c:pt>
                <c:pt idx="32">
                  <c:v>271</c:v>
                </c:pt>
                <c:pt idx="33">
                  <c:v>273</c:v>
                </c:pt>
                <c:pt idx="34">
                  <c:v>275</c:v>
                </c:pt>
                <c:pt idx="35">
                  <c:v>277</c:v>
                </c:pt>
                <c:pt idx="36">
                  <c:v>279</c:v>
                </c:pt>
                <c:pt idx="37">
                  <c:v>281</c:v>
                </c:pt>
                <c:pt idx="38">
                  <c:v>282.66666666666669</c:v>
                </c:pt>
                <c:pt idx="39">
                  <c:v>284.33333333333331</c:v>
                </c:pt>
                <c:pt idx="40">
                  <c:v>286.33333333333331</c:v>
                </c:pt>
                <c:pt idx="41">
                  <c:v>287.66666666666669</c:v>
                </c:pt>
                <c:pt idx="42">
                  <c:v>289.66666666666669</c:v>
                </c:pt>
                <c:pt idx="43">
                  <c:v>291.66666666666669</c:v>
                </c:pt>
                <c:pt idx="44">
                  <c:v>294.33333333333331</c:v>
                </c:pt>
                <c:pt idx="45">
                  <c:v>296.66666666666669</c:v>
                </c:pt>
                <c:pt idx="46">
                  <c:v>299.66666666666669</c:v>
                </c:pt>
                <c:pt idx="47">
                  <c:v>303.33333333333331</c:v>
                </c:pt>
                <c:pt idx="48">
                  <c:v>308</c:v>
                </c:pt>
                <c:pt idx="49">
                  <c:v>315</c:v>
                </c:pt>
                <c:pt idx="50">
                  <c:v>322.66666666666669</c:v>
                </c:pt>
                <c:pt idx="51">
                  <c:v>328.66666666666669</c:v>
                </c:pt>
                <c:pt idx="52">
                  <c:v>332</c:v>
                </c:pt>
                <c:pt idx="53">
                  <c:v>333.66666666666669</c:v>
                </c:pt>
                <c:pt idx="54">
                  <c:v>334.33333333333331</c:v>
                </c:pt>
                <c:pt idx="55">
                  <c:v>336</c:v>
                </c:pt>
                <c:pt idx="56">
                  <c:v>337</c:v>
                </c:pt>
                <c:pt idx="57">
                  <c:v>338.33333333333331</c:v>
                </c:pt>
                <c:pt idx="58">
                  <c:v>339.33333333333331</c:v>
                </c:pt>
                <c:pt idx="59">
                  <c:v>340</c:v>
                </c:pt>
                <c:pt idx="60">
                  <c:v>341.33333333333331</c:v>
                </c:pt>
                <c:pt idx="61">
                  <c:v>342.33333333333331</c:v>
                </c:pt>
                <c:pt idx="62">
                  <c:v>343.66666666666669</c:v>
                </c:pt>
                <c:pt idx="63">
                  <c:v>344.66666666666669</c:v>
                </c:pt>
                <c:pt idx="64">
                  <c:v>345.66666666666669</c:v>
                </c:pt>
                <c:pt idx="65">
                  <c:v>347.66666666666669</c:v>
                </c:pt>
                <c:pt idx="66">
                  <c:v>348.66666666666669</c:v>
                </c:pt>
                <c:pt idx="67">
                  <c:v>348.33333333333331</c:v>
                </c:pt>
                <c:pt idx="68">
                  <c:v>347.33333333333331</c:v>
                </c:pt>
                <c:pt idx="69">
                  <c:v>347.66666666666669</c:v>
                </c:pt>
                <c:pt idx="70">
                  <c:v>348.33333333333331</c:v>
                </c:pt>
                <c:pt idx="71">
                  <c:v>349.33333333333331</c:v>
                </c:pt>
                <c:pt idx="72">
                  <c:v>351.33333333333331</c:v>
                </c:pt>
                <c:pt idx="73">
                  <c:v>364.66666666666669</c:v>
                </c:pt>
                <c:pt idx="74">
                  <c:v>376.33333333333331</c:v>
                </c:pt>
                <c:pt idx="75">
                  <c:v>381.66666666666669</c:v>
                </c:pt>
                <c:pt idx="76">
                  <c:v>385.33333333333331</c:v>
                </c:pt>
                <c:pt idx="77">
                  <c:v>388.66666666666669</c:v>
                </c:pt>
                <c:pt idx="78">
                  <c:v>390.66666666666669</c:v>
                </c:pt>
                <c:pt idx="79">
                  <c:v>392.33333333333331</c:v>
                </c:pt>
                <c:pt idx="80">
                  <c:v>394.33333333333331</c:v>
                </c:pt>
                <c:pt idx="81">
                  <c:v>395.66666666666669</c:v>
                </c:pt>
                <c:pt idx="82">
                  <c:v>396.66666666666669</c:v>
                </c:pt>
                <c:pt idx="83">
                  <c:v>397.66666666666669</c:v>
                </c:pt>
                <c:pt idx="84">
                  <c:v>398.66666666666669</c:v>
                </c:pt>
                <c:pt idx="85">
                  <c:v>400</c:v>
                </c:pt>
                <c:pt idx="86">
                  <c:v>401</c:v>
                </c:pt>
                <c:pt idx="87">
                  <c:v>402</c:v>
                </c:pt>
                <c:pt idx="88">
                  <c:v>402.66666666666669</c:v>
                </c:pt>
                <c:pt idx="89">
                  <c:v>404</c:v>
                </c:pt>
                <c:pt idx="90">
                  <c:v>405.33333333333331</c:v>
                </c:pt>
                <c:pt idx="91">
                  <c:v>407</c:v>
                </c:pt>
                <c:pt idx="92">
                  <c:v>408.33333333333331</c:v>
                </c:pt>
                <c:pt idx="93">
                  <c:v>410.33333333333331</c:v>
                </c:pt>
                <c:pt idx="94">
                  <c:v>413.66666666666669</c:v>
                </c:pt>
                <c:pt idx="95">
                  <c:v>417.33333333333331</c:v>
                </c:pt>
                <c:pt idx="96">
                  <c:v>419.33333333333331</c:v>
                </c:pt>
                <c:pt idx="97">
                  <c:v>421</c:v>
                </c:pt>
                <c:pt idx="98">
                  <c:v>423</c:v>
                </c:pt>
                <c:pt idx="99">
                  <c:v>425.33333333333331</c:v>
                </c:pt>
                <c:pt idx="100">
                  <c:v>427.66666666666669</c:v>
                </c:pt>
                <c:pt idx="101">
                  <c:v>430</c:v>
                </c:pt>
                <c:pt idx="102">
                  <c:v>432.33333333333331</c:v>
                </c:pt>
                <c:pt idx="103">
                  <c:v>433.66666666666669</c:v>
                </c:pt>
                <c:pt idx="104">
                  <c:v>435.33333333333331</c:v>
                </c:pt>
                <c:pt idx="105">
                  <c:v>437.33333333333331</c:v>
                </c:pt>
                <c:pt idx="106">
                  <c:v>437.66666666666669</c:v>
                </c:pt>
                <c:pt idx="107">
                  <c:v>439.33333333333331</c:v>
                </c:pt>
                <c:pt idx="108">
                  <c:v>440.33333333333331</c:v>
                </c:pt>
                <c:pt idx="109">
                  <c:v>441.33333333333331</c:v>
                </c:pt>
                <c:pt idx="110">
                  <c:v>442</c:v>
                </c:pt>
                <c:pt idx="111">
                  <c:v>443</c:v>
                </c:pt>
                <c:pt idx="112">
                  <c:v>443.33333333333331</c:v>
                </c:pt>
                <c:pt idx="113">
                  <c:v>444</c:v>
                </c:pt>
                <c:pt idx="114">
                  <c:v>444.66666666666669</c:v>
                </c:pt>
                <c:pt idx="115">
                  <c:v>445.66666666666669</c:v>
                </c:pt>
                <c:pt idx="116">
                  <c:v>446.66666666666669</c:v>
                </c:pt>
                <c:pt idx="117">
                  <c:v>448.33333333333331</c:v>
                </c:pt>
                <c:pt idx="118">
                  <c:v>449.66666666666669</c:v>
                </c:pt>
                <c:pt idx="119">
                  <c:v>451.33333333333331</c:v>
                </c:pt>
                <c:pt idx="120">
                  <c:v>453.33333333333331</c:v>
                </c:pt>
                <c:pt idx="121">
                  <c:v>455.66666666666669</c:v>
                </c:pt>
                <c:pt idx="122">
                  <c:v>458.33333333333331</c:v>
                </c:pt>
                <c:pt idx="123">
                  <c:v>460.33333333333331</c:v>
                </c:pt>
                <c:pt idx="124">
                  <c:v>462.66666666666669</c:v>
                </c:pt>
                <c:pt idx="125">
                  <c:v>464</c:v>
                </c:pt>
                <c:pt idx="126">
                  <c:v>465</c:v>
                </c:pt>
                <c:pt idx="127">
                  <c:v>466</c:v>
                </c:pt>
                <c:pt idx="128">
                  <c:v>467</c:v>
                </c:pt>
                <c:pt idx="129">
                  <c:v>467</c:v>
                </c:pt>
                <c:pt idx="130">
                  <c:v>467.66666666666669</c:v>
                </c:pt>
                <c:pt idx="131">
                  <c:v>468.33333333333331</c:v>
                </c:pt>
                <c:pt idx="132">
                  <c:v>468.66666666666669</c:v>
                </c:pt>
                <c:pt idx="133">
                  <c:v>469.33333333333331</c:v>
                </c:pt>
                <c:pt idx="134">
                  <c:v>469.66666666666669</c:v>
                </c:pt>
                <c:pt idx="135">
                  <c:v>470.33333333333331</c:v>
                </c:pt>
                <c:pt idx="136">
                  <c:v>471</c:v>
                </c:pt>
                <c:pt idx="137">
                  <c:v>471</c:v>
                </c:pt>
                <c:pt idx="138">
                  <c:v>472</c:v>
                </c:pt>
                <c:pt idx="139">
                  <c:v>473</c:v>
                </c:pt>
                <c:pt idx="140">
                  <c:v>474</c:v>
                </c:pt>
                <c:pt idx="141">
                  <c:v>475.33333333333331</c:v>
                </c:pt>
                <c:pt idx="142">
                  <c:v>477</c:v>
                </c:pt>
                <c:pt idx="143">
                  <c:v>479</c:v>
                </c:pt>
                <c:pt idx="144">
                  <c:v>481.66666666666669</c:v>
                </c:pt>
                <c:pt idx="145">
                  <c:v>485</c:v>
                </c:pt>
                <c:pt idx="146">
                  <c:v>488</c:v>
                </c:pt>
                <c:pt idx="147">
                  <c:v>490.33333333333331</c:v>
                </c:pt>
                <c:pt idx="148">
                  <c:v>492.66666666666669</c:v>
                </c:pt>
                <c:pt idx="149">
                  <c:v>494.66666666666669</c:v>
                </c:pt>
                <c:pt idx="150">
                  <c:v>496.66666666666669</c:v>
                </c:pt>
                <c:pt idx="151">
                  <c:v>498.33333333333331</c:v>
                </c:pt>
                <c:pt idx="152">
                  <c:v>499.33333333333331</c:v>
                </c:pt>
                <c:pt idx="153">
                  <c:v>501</c:v>
                </c:pt>
                <c:pt idx="154">
                  <c:v>502</c:v>
                </c:pt>
                <c:pt idx="155">
                  <c:v>502.66666666666669</c:v>
                </c:pt>
                <c:pt idx="156">
                  <c:v>504</c:v>
                </c:pt>
                <c:pt idx="157">
                  <c:v>504.66666666666669</c:v>
                </c:pt>
                <c:pt idx="158">
                  <c:v>505.66666666666669</c:v>
                </c:pt>
                <c:pt idx="159">
                  <c:v>506.66666666666669</c:v>
                </c:pt>
                <c:pt idx="160">
                  <c:v>507.66666666666669</c:v>
                </c:pt>
                <c:pt idx="161">
                  <c:v>509</c:v>
                </c:pt>
                <c:pt idx="162">
                  <c:v>510</c:v>
                </c:pt>
                <c:pt idx="163">
                  <c:v>511.33333333333331</c:v>
                </c:pt>
                <c:pt idx="164">
                  <c:v>513.33333333333337</c:v>
                </c:pt>
                <c:pt idx="165">
                  <c:v>514.66666666666663</c:v>
                </c:pt>
                <c:pt idx="166">
                  <c:v>516</c:v>
                </c:pt>
                <c:pt idx="167">
                  <c:v>518</c:v>
                </c:pt>
                <c:pt idx="168">
                  <c:v>520</c:v>
                </c:pt>
                <c:pt idx="169">
                  <c:v>543</c:v>
                </c:pt>
                <c:pt idx="170">
                  <c:v>558</c:v>
                </c:pt>
                <c:pt idx="171">
                  <c:v>563</c:v>
                </c:pt>
                <c:pt idx="172">
                  <c:v>566.66666666666663</c:v>
                </c:pt>
                <c:pt idx="173">
                  <c:v>569.66666666666663</c:v>
                </c:pt>
                <c:pt idx="174">
                  <c:v>571.66666666666663</c:v>
                </c:pt>
                <c:pt idx="175">
                  <c:v>574</c:v>
                </c:pt>
                <c:pt idx="176">
                  <c:v>576</c:v>
                </c:pt>
                <c:pt idx="177">
                  <c:v>578</c:v>
                </c:pt>
                <c:pt idx="178">
                  <c:v>579.66666666666663</c:v>
                </c:pt>
                <c:pt idx="179">
                  <c:v>581</c:v>
                </c:pt>
                <c:pt idx="180">
                  <c:v>583</c:v>
                </c:pt>
                <c:pt idx="181">
                  <c:v>583.66666666666663</c:v>
                </c:pt>
                <c:pt idx="182">
                  <c:v>585.33333333333337</c:v>
                </c:pt>
                <c:pt idx="183">
                  <c:v>586.66666666666663</c:v>
                </c:pt>
                <c:pt idx="184">
                  <c:v>588</c:v>
                </c:pt>
                <c:pt idx="185">
                  <c:v>589</c:v>
                </c:pt>
                <c:pt idx="186">
                  <c:v>589.33333333333337</c:v>
                </c:pt>
                <c:pt idx="187">
                  <c:v>590.66666666666663</c:v>
                </c:pt>
                <c:pt idx="188">
                  <c:v>591.66666666666663</c:v>
                </c:pt>
                <c:pt idx="189">
                  <c:v>592.66666666666663</c:v>
                </c:pt>
                <c:pt idx="190">
                  <c:v>594</c:v>
                </c:pt>
                <c:pt idx="191">
                  <c:v>596</c:v>
                </c:pt>
                <c:pt idx="192">
                  <c:v>597.66666666666663</c:v>
                </c:pt>
                <c:pt idx="193">
                  <c:v>600</c:v>
                </c:pt>
                <c:pt idx="194">
                  <c:v>602.66666666666663</c:v>
                </c:pt>
                <c:pt idx="195">
                  <c:v>605</c:v>
                </c:pt>
                <c:pt idx="196">
                  <c:v>607.33333333333337</c:v>
                </c:pt>
                <c:pt idx="197">
                  <c:v>609</c:v>
                </c:pt>
                <c:pt idx="198">
                  <c:v>609.66666666666663</c:v>
                </c:pt>
                <c:pt idx="199">
                  <c:v>610.66666666666663</c:v>
                </c:pt>
                <c:pt idx="200">
                  <c:v>611.66666666666663</c:v>
                </c:pt>
                <c:pt idx="201">
                  <c:v>612.33333333333337</c:v>
                </c:pt>
                <c:pt idx="202">
                  <c:v>613</c:v>
                </c:pt>
                <c:pt idx="203">
                  <c:v>613.66666666666663</c:v>
                </c:pt>
                <c:pt idx="204">
                  <c:v>614.33333333333337</c:v>
                </c:pt>
                <c:pt idx="205">
                  <c:v>615</c:v>
                </c:pt>
                <c:pt idx="206">
                  <c:v>616</c:v>
                </c:pt>
                <c:pt idx="207">
                  <c:v>616.33333333333337</c:v>
                </c:pt>
                <c:pt idx="208">
                  <c:v>617.33333333333337</c:v>
                </c:pt>
                <c:pt idx="209">
                  <c:v>617.33333333333337</c:v>
                </c:pt>
                <c:pt idx="210">
                  <c:v>618.33333333333337</c:v>
                </c:pt>
                <c:pt idx="211">
                  <c:v>619.33333333333337</c:v>
                </c:pt>
                <c:pt idx="212">
                  <c:v>620.33333333333337</c:v>
                </c:pt>
                <c:pt idx="213">
                  <c:v>621.66666666666663</c:v>
                </c:pt>
                <c:pt idx="214">
                  <c:v>622.66666666666663</c:v>
                </c:pt>
                <c:pt idx="215">
                  <c:v>624</c:v>
                </c:pt>
                <c:pt idx="216">
                  <c:v>625.66666666666663</c:v>
                </c:pt>
                <c:pt idx="217">
                  <c:v>627</c:v>
                </c:pt>
                <c:pt idx="218">
                  <c:v>628.33333333333337</c:v>
                </c:pt>
                <c:pt idx="219">
                  <c:v>630</c:v>
                </c:pt>
                <c:pt idx="220">
                  <c:v>631.66666666666663</c:v>
                </c:pt>
                <c:pt idx="221">
                  <c:v>633</c:v>
                </c:pt>
                <c:pt idx="222">
                  <c:v>634</c:v>
                </c:pt>
                <c:pt idx="223">
                  <c:v>635</c:v>
                </c:pt>
                <c:pt idx="224">
                  <c:v>636</c:v>
                </c:pt>
                <c:pt idx="225">
                  <c:v>636.33333333333337</c:v>
                </c:pt>
                <c:pt idx="226">
                  <c:v>637.33333333333337</c:v>
                </c:pt>
                <c:pt idx="227">
                  <c:v>637.66666666666663</c:v>
                </c:pt>
                <c:pt idx="228">
                  <c:v>638.33333333333337</c:v>
                </c:pt>
                <c:pt idx="229">
                  <c:v>638.66666666666663</c:v>
                </c:pt>
                <c:pt idx="230">
                  <c:v>639</c:v>
                </c:pt>
                <c:pt idx="231">
                  <c:v>639.66666666666663</c:v>
                </c:pt>
                <c:pt idx="232">
                  <c:v>640</c:v>
                </c:pt>
                <c:pt idx="233">
                  <c:v>641</c:v>
                </c:pt>
                <c:pt idx="234">
                  <c:v>642</c:v>
                </c:pt>
                <c:pt idx="235">
                  <c:v>642</c:v>
                </c:pt>
                <c:pt idx="236">
                  <c:v>643.33333333333337</c:v>
                </c:pt>
                <c:pt idx="237">
                  <c:v>644.66666666666663</c:v>
                </c:pt>
                <c:pt idx="238">
                  <c:v>645.66666666666663</c:v>
                </c:pt>
                <c:pt idx="239">
                  <c:v>647</c:v>
                </c:pt>
                <c:pt idx="240">
                  <c:v>649</c:v>
                </c:pt>
                <c:pt idx="241">
                  <c:v>650.66666666666663</c:v>
                </c:pt>
                <c:pt idx="242">
                  <c:v>653.33333333333337</c:v>
                </c:pt>
                <c:pt idx="243">
                  <c:v>655.66666666666663</c:v>
                </c:pt>
                <c:pt idx="244">
                  <c:v>657</c:v>
                </c:pt>
                <c:pt idx="245">
                  <c:v>658.33333333333337</c:v>
                </c:pt>
                <c:pt idx="246">
                  <c:v>659</c:v>
                </c:pt>
                <c:pt idx="247">
                  <c:v>660</c:v>
                </c:pt>
                <c:pt idx="248">
                  <c:v>660.33333333333337</c:v>
                </c:pt>
                <c:pt idx="249">
                  <c:v>661.66666666666663</c:v>
                </c:pt>
                <c:pt idx="250">
                  <c:v>662.33333333333337</c:v>
                </c:pt>
                <c:pt idx="251">
                  <c:v>662.66666666666663</c:v>
                </c:pt>
                <c:pt idx="252">
                  <c:v>663</c:v>
                </c:pt>
                <c:pt idx="253">
                  <c:v>664</c:v>
                </c:pt>
                <c:pt idx="254">
                  <c:v>664.33333333333337</c:v>
                </c:pt>
                <c:pt idx="255">
                  <c:v>665</c:v>
                </c:pt>
                <c:pt idx="256">
                  <c:v>665.66666666666663</c:v>
                </c:pt>
                <c:pt idx="257">
                  <c:v>666</c:v>
                </c:pt>
                <c:pt idx="258">
                  <c:v>666.66666666666663</c:v>
                </c:pt>
                <c:pt idx="259">
                  <c:v>667</c:v>
                </c:pt>
                <c:pt idx="260">
                  <c:v>668.33333333333337</c:v>
                </c:pt>
                <c:pt idx="261">
                  <c:v>669</c:v>
                </c:pt>
                <c:pt idx="262">
                  <c:v>670.33333333333337</c:v>
                </c:pt>
                <c:pt idx="263">
                  <c:v>680</c:v>
                </c:pt>
                <c:pt idx="264">
                  <c:v>690</c:v>
                </c:pt>
                <c:pt idx="265">
                  <c:v>694.33333333333337</c:v>
                </c:pt>
                <c:pt idx="266">
                  <c:v>697.66666666666663</c:v>
                </c:pt>
                <c:pt idx="267">
                  <c:v>700</c:v>
                </c:pt>
                <c:pt idx="268">
                  <c:v>702</c:v>
                </c:pt>
                <c:pt idx="269">
                  <c:v>703</c:v>
                </c:pt>
                <c:pt idx="270">
                  <c:v>704</c:v>
                </c:pt>
                <c:pt idx="271">
                  <c:v>704.66666666666663</c:v>
                </c:pt>
                <c:pt idx="272">
                  <c:v>705</c:v>
                </c:pt>
                <c:pt idx="273">
                  <c:v>705.66666666666663</c:v>
                </c:pt>
                <c:pt idx="274">
                  <c:v>705.66666666666663</c:v>
                </c:pt>
                <c:pt idx="275">
                  <c:v>706.33333333333337</c:v>
                </c:pt>
                <c:pt idx="276">
                  <c:v>707</c:v>
                </c:pt>
                <c:pt idx="277">
                  <c:v>707.33333333333337</c:v>
                </c:pt>
                <c:pt idx="278">
                  <c:v>708</c:v>
                </c:pt>
                <c:pt idx="279">
                  <c:v>708</c:v>
                </c:pt>
                <c:pt idx="280">
                  <c:v>709</c:v>
                </c:pt>
                <c:pt idx="281">
                  <c:v>709.66666666666663</c:v>
                </c:pt>
                <c:pt idx="282">
                  <c:v>710.66666666666663</c:v>
                </c:pt>
                <c:pt idx="283">
                  <c:v>711</c:v>
                </c:pt>
                <c:pt idx="284">
                  <c:v>711.66666666666663</c:v>
                </c:pt>
                <c:pt idx="285">
                  <c:v>713</c:v>
                </c:pt>
                <c:pt idx="286">
                  <c:v>713.33333333333337</c:v>
                </c:pt>
                <c:pt idx="287">
                  <c:v>715.33333333333337</c:v>
                </c:pt>
                <c:pt idx="288">
                  <c:v>716.33333333333337</c:v>
                </c:pt>
                <c:pt idx="289">
                  <c:v>717.66666666666663</c:v>
                </c:pt>
                <c:pt idx="290">
                  <c:v>718.66666666666663</c:v>
                </c:pt>
                <c:pt idx="291">
                  <c:v>720</c:v>
                </c:pt>
                <c:pt idx="292">
                  <c:v>721</c:v>
                </c:pt>
                <c:pt idx="293">
                  <c:v>721.66666666666663</c:v>
                </c:pt>
                <c:pt idx="294">
                  <c:v>722.66666666666663</c:v>
                </c:pt>
                <c:pt idx="295">
                  <c:v>723.33333333333337</c:v>
                </c:pt>
                <c:pt idx="296">
                  <c:v>724</c:v>
                </c:pt>
                <c:pt idx="297">
                  <c:v>724.66666666666663</c:v>
                </c:pt>
                <c:pt idx="298">
                  <c:v>725</c:v>
                </c:pt>
                <c:pt idx="299">
                  <c:v>725.66666666666663</c:v>
                </c:pt>
                <c:pt idx="300">
                  <c:v>726</c:v>
                </c:pt>
                <c:pt idx="301">
                  <c:v>726.66666666666663</c:v>
                </c:pt>
                <c:pt idx="302">
                  <c:v>727</c:v>
                </c:pt>
                <c:pt idx="303">
                  <c:v>727.66666666666663</c:v>
                </c:pt>
                <c:pt idx="304">
                  <c:v>728.33333333333337</c:v>
                </c:pt>
                <c:pt idx="305">
                  <c:v>728.33333333333337</c:v>
                </c:pt>
                <c:pt idx="306">
                  <c:v>729.33333333333337</c:v>
                </c:pt>
                <c:pt idx="307">
                  <c:v>730</c:v>
                </c:pt>
                <c:pt idx="308">
                  <c:v>730.33333333333337</c:v>
                </c:pt>
                <c:pt idx="309">
                  <c:v>730.66666666666663</c:v>
                </c:pt>
                <c:pt idx="310">
                  <c:v>731.66666666666663</c:v>
                </c:pt>
                <c:pt idx="311">
                  <c:v>732.66666666666663</c:v>
                </c:pt>
                <c:pt idx="312">
                  <c:v>731</c:v>
                </c:pt>
                <c:pt idx="313">
                  <c:v>730.33333333333337</c:v>
                </c:pt>
                <c:pt idx="314">
                  <c:v>731</c:v>
                </c:pt>
                <c:pt idx="315">
                  <c:v>731.33333333333337</c:v>
                </c:pt>
                <c:pt idx="316">
                  <c:v>732.33333333333337</c:v>
                </c:pt>
                <c:pt idx="317">
                  <c:v>732.66666666666663</c:v>
                </c:pt>
                <c:pt idx="318">
                  <c:v>733</c:v>
                </c:pt>
                <c:pt idx="319">
                  <c:v>733.33333333333337</c:v>
                </c:pt>
                <c:pt idx="320">
                  <c:v>733.33333333333337</c:v>
                </c:pt>
                <c:pt idx="321">
                  <c:v>733</c:v>
                </c:pt>
                <c:pt idx="322">
                  <c:v>733.66666666666663</c:v>
                </c:pt>
                <c:pt idx="323">
                  <c:v>733.66666666666663</c:v>
                </c:pt>
                <c:pt idx="324">
                  <c:v>734</c:v>
                </c:pt>
                <c:pt idx="325">
                  <c:v>734.33333333333337</c:v>
                </c:pt>
                <c:pt idx="326">
                  <c:v>734.33333333333337</c:v>
                </c:pt>
                <c:pt idx="327">
                  <c:v>734.66666666666663</c:v>
                </c:pt>
                <c:pt idx="328">
                  <c:v>735</c:v>
                </c:pt>
                <c:pt idx="329">
                  <c:v>734.66666666666663</c:v>
                </c:pt>
                <c:pt idx="330">
                  <c:v>735.66666666666663</c:v>
                </c:pt>
                <c:pt idx="331">
                  <c:v>736</c:v>
                </c:pt>
                <c:pt idx="332">
                  <c:v>736.66666666666663</c:v>
                </c:pt>
                <c:pt idx="333">
                  <c:v>737.66666666666663</c:v>
                </c:pt>
                <c:pt idx="334">
                  <c:v>739</c:v>
                </c:pt>
                <c:pt idx="335">
                  <c:v>740</c:v>
                </c:pt>
                <c:pt idx="336">
                  <c:v>741.33333333333337</c:v>
                </c:pt>
                <c:pt idx="337">
                  <c:v>740.66666666666663</c:v>
                </c:pt>
                <c:pt idx="338">
                  <c:v>739</c:v>
                </c:pt>
                <c:pt idx="339">
                  <c:v>739</c:v>
                </c:pt>
                <c:pt idx="340">
                  <c:v>741</c:v>
                </c:pt>
                <c:pt idx="341">
                  <c:v>743</c:v>
                </c:pt>
                <c:pt idx="342">
                  <c:v>745.33333333333337</c:v>
                </c:pt>
                <c:pt idx="343">
                  <c:v>746.66666666666663</c:v>
                </c:pt>
                <c:pt idx="344">
                  <c:v>748</c:v>
                </c:pt>
                <c:pt idx="345">
                  <c:v>749</c:v>
                </c:pt>
                <c:pt idx="346">
                  <c:v>749</c:v>
                </c:pt>
                <c:pt idx="347">
                  <c:v>749.66666666666663</c:v>
                </c:pt>
                <c:pt idx="348">
                  <c:v>749.33333333333337</c:v>
                </c:pt>
                <c:pt idx="349">
                  <c:v>749.66666666666663</c:v>
                </c:pt>
                <c:pt idx="350">
                  <c:v>749.66666666666663</c:v>
                </c:pt>
                <c:pt idx="351">
                  <c:v>749.66666666666663</c:v>
                </c:pt>
                <c:pt idx="352">
                  <c:v>749.66666666666663</c:v>
                </c:pt>
                <c:pt idx="353">
                  <c:v>749.66666666666663</c:v>
                </c:pt>
                <c:pt idx="354">
                  <c:v>749.66666666666663</c:v>
                </c:pt>
                <c:pt idx="355">
                  <c:v>749.66666666666663</c:v>
                </c:pt>
                <c:pt idx="356">
                  <c:v>749.66666666666663</c:v>
                </c:pt>
                <c:pt idx="357">
                  <c:v>749</c:v>
                </c:pt>
                <c:pt idx="358">
                  <c:v>749</c:v>
                </c:pt>
                <c:pt idx="359">
                  <c:v>762.33333333333337</c:v>
                </c:pt>
                <c:pt idx="360">
                  <c:v>771.33333333333337</c:v>
                </c:pt>
                <c:pt idx="361">
                  <c:v>776.33333333333337</c:v>
                </c:pt>
                <c:pt idx="362">
                  <c:v>779.66666666666663</c:v>
                </c:pt>
                <c:pt idx="363">
                  <c:v>782.66666666666663</c:v>
                </c:pt>
                <c:pt idx="364">
                  <c:v>785.66666666666663</c:v>
                </c:pt>
                <c:pt idx="365">
                  <c:v>788.66666666666663</c:v>
                </c:pt>
                <c:pt idx="366">
                  <c:v>792</c:v>
                </c:pt>
                <c:pt idx="367">
                  <c:v>794</c:v>
                </c:pt>
                <c:pt idx="368">
                  <c:v>795.66666666666663</c:v>
                </c:pt>
                <c:pt idx="369">
                  <c:v>797</c:v>
                </c:pt>
                <c:pt idx="370">
                  <c:v>798</c:v>
                </c:pt>
                <c:pt idx="371">
                  <c:v>799.33333333333337</c:v>
                </c:pt>
                <c:pt idx="372">
                  <c:v>800</c:v>
                </c:pt>
                <c:pt idx="373">
                  <c:v>801</c:v>
                </c:pt>
                <c:pt idx="374">
                  <c:v>801.33333333333337</c:v>
                </c:pt>
                <c:pt idx="375">
                  <c:v>802</c:v>
                </c:pt>
                <c:pt idx="376">
                  <c:v>802.66666666666663</c:v>
                </c:pt>
                <c:pt idx="377">
                  <c:v>803</c:v>
                </c:pt>
                <c:pt idx="378">
                  <c:v>803.66666666666663</c:v>
                </c:pt>
                <c:pt idx="379">
                  <c:v>804</c:v>
                </c:pt>
                <c:pt idx="380">
                  <c:v>804.66666666666663</c:v>
                </c:pt>
                <c:pt idx="381">
                  <c:v>805.33333333333337</c:v>
                </c:pt>
                <c:pt idx="382">
                  <c:v>806.66666666666663</c:v>
                </c:pt>
                <c:pt idx="383">
                  <c:v>807</c:v>
                </c:pt>
                <c:pt idx="384">
                  <c:v>808.66666666666663</c:v>
                </c:pt>
                <c:pt idx="385">
                  <c:v>811.33333333333337</c:v>
                </c:pt>
                <c:pt idx="386">
                  <c:v>814.33333333333337</c:v>
                </c:pt>
                <c:pt idx="387">
                  <c:v>816.33333333333337</c:v>
                </c:pt>
                <c:pt idx="388">
                  <c:v>817.33333333333337</c:v>
                </c:pt>
                <c:pt idx="389">
                  <c:v>817.66666666666663</c:v>
                </c:pt>
                <c:pt idx="390">
                  <c:v>817.33333333333337</c:v>
                </c:pt>
                <c:pt idx="391">
                  <c:v>817.33333333333337</c:v>
                </c:pt>
                <c:pt idx="392">
                  <c:v>817</c:v>
                </c:pt>
                <c:pt idx="393">
                  <c:v>817</c:v>
                </c:pt>
                <c:pt idx="394">
                  <c:v>817</c:v>
                </c:pt>
                <c:pt idx="395">
                  <c:v>816.66666666666663</c:v>
                </c:pt>
                <c:pt idx="396">
                  <c:v>817</c:v>
                </c:pt>
                <c:pt idx="397">
                  <c:v>817</c:v>
                </c:pt>
                <c:pt idx="398">
                  <c:v>817</c:v>
                </c:pt>
                <c:pt idx="399">
                  <c:v>816.33333333333337</c:v>
                </c:pt>
                <c:pt idx="400">
                  <c:v>817</c:v>
                </c:pt>
                <c:pt idx="401">
                  <c:v>817</c:v>
                </c:pt>
                <c:pt idx="402">
                  <c:v>817.33333333333337</c:v>
                </c:pt>
                <c:pt idx="403">
                  <c:v>818.33333333333337</c:v>
                </c:pt>
                <c:pt idx="404">
                  <c:v>818.66666666666663</c:v>
                </c:pt>
                <c:pt idx="405">
                  <c:v>819.33333333333337</c:v>
                </c:pt>
                <c:pt idx="406">
                  <c:v>820.33333333333337</c:v>
                </c:pt>
                <c:pt idx="407">
                  <c:v>822.33333333333337</c:v>
                </c:pt>
                <c:pt idx="408">
                  <c:v>827.66666666666663</c:v>
                </c:pt>
                <c:pt idx="409">
                  <c:v>832.66666666666663</c:v>
                </c:pt>
                <c:pt idx="410">
                  <c:v>837.33333333333337</c:v>
                </c:pt>
                <c:pt idx="411">
                  <c:v>842.33333333333337</c:v>
                </c:pt>
                <c:pt idx="412">
                  <c:v>845.66666666666663</c:v>
                </c:pt>
                <c:pt idx="413">
                  <c:v>848.33333333333337</c:v>
                </c:pt>
                <c:pt idx="414">
                  <c:v>851.33333333333337</c:v>
                </c:pt>
                <c:pt idx="415">
                  <c:v>853.66666666666663</c:v>
                </c:pt>
                <c:pt idx="416">
                  <c:v>855.66666666666663</c:v>
                </c:pt>
                <c:pt idx="417">
                  <c:v>857.66666666666663</c:v>
                </c:pt>
                <c:pt idx="418">
                  <c:v>859</c:v>
                </c:pt>
                <c:pt idx="419">
                  <c:v>860.66666666666663</c:v>
                </c:pt>
                <c:pt idx="420">
                  <c:v>862</c:v>
                </c:pt>
                <c:pt idx="421">
                  <c:v>863</c:v>
                </c:pt>
                <c:pt idx="422">
                  <c:v>863.66666666666663</c:v>
                </c:pt>
                <c:pt idx="423">
                  <c:v>864.66666666666663</c:v>
                </c:pt>
                <c:pt idx="424">
                  <c:v>865</c:v>
                </c:pt>
                <c:pt idx="425">
                  <c:v>866.33333333333337</c:v>
                </c:pt>
                <c:pt idx="426">
                  <c:v>867</c:v>
                </c:pt>
                <c:pt idx="427">
                  <c:v>868</c:v>
                </c:pt>
                <c:pt idx="428">
                  <c:v>869</c:v>
                </c:pt>
                <c:pt idx="429">
                  <c:v>870.33333333333337</c:v>
                </c:pt>
                <c:pt idx="430">
                  <c:v>871.66666666666663</c:v>
                </c:pt>
                <c:pt idx="431">
                  <c:v>873</c:v>
                </c:pt>
                <c:pt idx="432">
                  <c:v>875.33333333333337</c:v>
                </c:pt>
                <c:pt idx="433">
                  <c:v>877.33333333333337</c:v>
                </c:pt>
                <c:pt idx="434">
                  <c:v>879.66666666666663</c:v>
                </c:pt>
                <c:pt idx="435">
                  <c:v>882</c:v>
                </c:pt>
                <c:pt idx="436">
                  <c:v>884</c:v>
                </c:pt>
                <c:pt idx="437">
                  <c:v>885.66666666666663</c:v>
                </c:pt>
                <c:pt idx="438">
                  <c:v>886.33333333333337</c:v>
                </c:pt>
                <c:pt idx="439">
                  <c:v>887.66666666666663</c:v>
                </c:pt>
                <c:pt idx="440">
                  <c:v>888.66666666666663</c:v>
                </c:pt>
                <c:pt idx="441">
                  <c:v>889.33333333333337</c:v>
                </c:pt>
                <c:pt idx="442">
                  <c:v>889.66666666666663</c:v>
                </c:pt>
                <c:pt idx="443">
                  <c:v>890.66666666666663</c:v>
                </c:pt>
                <c:pt idx="444">
                  <c:v>890.66666666666663</c:v>
                </c:pt>
                <c:pt idx="445">
                  <c:v>891.66666666666663</c:v>
                </c:pt>
                <c:pt idx="446">
                  <c:v>891.66666666666663</c:v>
                </c:pt>
                <c:pt idx="447">
                  <c:v>892.33333333333337</c:v>
                </c:pt>
                <c:pt idx="448">
                  <c:v>893.33333333333337</c:v>
                </c:pt>
                <c:pt idx="449">
                  <c:v>893.66666666666663</c:v>
                </c:pt>
                <c:pt idx="450">
                  <c:v>894.33333333333337</c:v>
                </c:pt>
                <c:pt idx="451">
                  <c:v>895.33333333333337</c:v>
                </c:pt>
                <c:pt idx="452">
                  <c:v>896.33333333333337</c:v>
                </c:pt>
                <c:pt idx="453">
                  <c:v>897.33333333333337</c:v>
                </c:pt>
                <c:pt idx="454">
                  <c:v>899.33333333333337</c:v>
                </c:pt>
                <c:pt idx="455">
                  <c:v>901.33333333333337</c:v>
                </c:pt>
                <c:pt idx="456">
                  <c:v>902.66666666666663</c:v>
                </c:pt>
                <c:pt idx="457">
                  <c:v>904</c:v>
                </c:pt>
                <c:pt idx="458">
                  <c:v>906.66666666666663</c:v>
                </c:pt>
                <c:pt idx="459">
                  <c:v>909</c:v>
                </c:pt>
                <c:pt idx="460">
                  <c:v>910.33333333333337</c:v>
                </c:pt>
                <c:pt idx="461">
                  <c:v>911.66666666666663</c:v>
                </c:pt>
                <c:pt idx="462">
                  <c:v>913</c:v>
                </c:pt>
                <c:pt idx="463">
                  <c:v>914</c:v>
                </c:pt>
                <c:pt idx="464">
                  <c:v>915.33333333333337</c:v>
                </c:pt>
                <c:pt idx="465">
                  <c:v>915.66666666666663</c:v>
                </c:pt>
                <c:pt idx="466">
                  <c:v>916.33333333333337</c:v>
                </c:pt>
                <c:pt idx="467">
                  <c:v>917</c:v>
                </c:pt>
                <c:pt idx="468">
                  <c:v>918</c:v>
                </c:pt>
                <c:pt idx="469">
                  <c:v>918.33333333333337</c:v>
                </c:pt>
                <c:pt idx="470">
                  <c:v>918.66666666666663</c:v>
                </c:pt>
                <c:pt idx="471">
                  <c:v>919.66666666666663</c:v>
                </c:pt>
                <c:pt idx="472">
                  <c:v>920</c:v>
                </c:pt>
                <c:pt idx="473">
                  <c:v>920.66666666666663</c:v>
                </c:pt>
                <c:pt idx="474">
                  <c:v>921.33333333333337</c:v>
                </c:pt>
                <c:pt idx="475">
                  <c:v>922.33333333333337</c:v>
                </c:pt>
                <c:pt idx="476">
                  <c:v>923.33333333333337</c:v>
                </c:pt>
                <c:pt idx="477">
                  <c:v>924.33333333333337</c:v>
                </c:pt>
                <c:pt idx="478">
                  <c:v>926.33333333333337</c:v>
                </c:pt>
                <c:pt idx="479">
                  <c:v>927.66666666666663</c:v>
                </c:pt>
                <c:pt idx="480">
                  <c:v>929</c:v>
                </c:pt>
                <c:pt idx="481">
                  <c:v>930</c:v>
                </c:pt>
                <c:pt idx="482">
                  <c:v>931.33333333333337</c:v>
                </c:pt>
                <c:pt idx="483">
                  <c:v>932.33333333333337</c:v>
                </c:pt>
                <c:pt idx="484">
                  <c:v>933</c:v>
                </c:pt>
                <c:pt idx="485">
                  <c:v>933.66666666666663</c:v>
                </c:pt>
                <c:pt idx="486">
                  <c:v>934.66666666666663</c:v>
                </c:pt>
                <c:pt idx="487">
                  <c:v>935</c:v>
                </c:pt>
                <c:pt idx="488">
                  <c:v>935.66666666666663</c:v>
                </c:pt>
                <c:pt idx="489">
                  <c:v>936.33333333333337</c:v>
                </c:pt>
                <c:pt idx="490">
                  <c:v>936.66666666666663</c:v>
                </c:pt>
                <c:pt idx="491">
                  <c:v>937</c:v>
                </c:pt>
                <c:pt idx="492">
                  <c:v>937.66666666666663</c:v>
                </c:pt>
                <c:pt idx="493">
                  <c:v>938.33333333333337</c:v>
                </c:pt>
                <c:pt idx="494">
                  <c:v>938.33333333333337</c:v>
                </c:pt>
                <c:pt idx="495">
                  <c:v>939</c:v>
                </c:pt>
                <c:pt idx="496">
                  <c:v>939</c:v>
                </c:pt>
                <c:pt idx="497">
                  <c:v>940</c:v>
                </c:pt>
                <c:pt idx="498">
                  <c:v>940.33333333333337</c:v>
                </c:pt>
                <c:pt idx="499">
                  <c:v>940.66666666666663</c:v>
                </c:pt>
                <c:pt idx="500">
                  <c:v>941</c:v>
                </c:pt>
                <c:pt idx="501">
                  <c:v>941.33333333333337</c:v>
                </c:pt>
                <c:pt idx="502">
                  <c:v>942</c:v>
                </c:pt>
                <c:pt idx="503">
                  <c:v>943.66666666666663</c:v>
                </c:pt>
                <c:pt idx="504">
                  <c:v>971.66666666666663</c:v>
                </c:pt>
                <c:pt idx="505">
                  <c:v>988</c:v>
                </c:pt>
                <c:pt idx="506">
                  <c:v>990.33333333333337</c:v>
                </c:pt>
                <c:pt idx="507">
                  <c:v>993</c:v>
                </c:pt>
                <c:pt idx="508">
                  <c:v>995</c:v>
                </c:pt>
                <c:pt idx="509">
                  <c:v>996.33333333333337</c:v>
                </c:pt>
                <c:pt idx="510">
                  <c:v>997</c:v>
                </c:pt>
                <c:pt idx="511">
                  <c:v>997.66666666666663</c:v>
                </c:pt>
                <c:pt idx="512">
                  <c:v>997.66666666666663</c:v>
                </c:pt>
                <c:pt idx="513">
                  <c:v>998.66666666666663</c:v>
                </c:pt>
                <c:pt idx="514">
                  <c:v>999</c:v>
                </c:pt>
                <c:pt idx="515">
                  <c:v>999</c:v>
                </c:pt>
                <c:pt idx="516">
                  <c:v>999.33333333333337</c:v>
                </c:pt>
                <c:pt idx="517">
                  <c:v>1000</c:v>
                </c:pt>
                <c:pt idx="518">
                  <c:v>1000.3333333333334</c:v>
                </c:pt>
                <c:pt idx="519">
                  <c:v>1000.6666666666666</c:v>
                </c:pt>
                <c:pt idx="520">
                  <c:v>1000.6666666666666</c:v>
                </c:pt>
                <c:pt idx="521">
                  <c:v>1001.3333333333334</c:v>
                </c:pt>
                <c:pt idx="522">
                  <c:v>1001.6666666666666</c:v>
                </c:pt>
                <c:pt idx="523">
                  <c:v>1002.3333333333334</c:v>
                </c:pt>
                <c:pt idx="524">
                  <c:v>1002.6666666666666</c:v>
                </c:pt>
                <c:pt idx="525">
                  <c:v>1004</c:v>
                </c:pt>
                <c:pt idx="526">
                  <c:v>1006.3333333333334</c:v>
                </c:pt>
                <c:pt idx="527">
                  <c:v>1009</c:v>
                </c:pt>
                <c:pt idx="528">
                  <c:v>1010.6666666666666</c:v>
                </c:pt>
                <c:pt idx="529">
                  <c:v>1012.6666666666666</c:v>
                </c:pt>
                <c:pt idx="530">
                  <c:v>1015</c:v>
                </c:pt>
                <c:pt idx="531">
                  <c:v>1017.6666666666666</c:v>
                </c:pt>
                <c:pt idx="532">
                  <c:v>1019.3333333333334</c:v>
                </c:pt>
                <c:pt idx="533">
                  <c:v>1020.3333333333334</c:v>
                </c:pt>
                <c:pt idx="534">
                  <c:v>1021.3333333333334</c:v>
                </c:pt>
                <c:pt idx="535">
                  <c:v>1022</c:v>
                </c:pt>
                <c:pt idx="536">
                  <c:v>1023</c:v>
                </c:pt>
                <c:pt idx="537">
                  <c:v>1023.3333333333334</c:v>
                </c:pt>
                <c:pt idx="538">
                  <c:v>1024.3333333333333</c:v>
                </c:pt>
                <c:pt idx="539">
                  <c:v>1024.6666666666667</c:v>
                </c:pt>
                <c:pt idx="540">
                  <c:v>1025</c:v>
                </c:pt>
                <c:pt idx="541">
                  <c:v>1025.6666666666667</c:v>
                </c:pt>
                <c:pt idx="542">
                  <c:v>1026.3333333333333</c:v>
                </c:pt>
                <c:pt idx="543">
                  <c:v>1026.6666666666667</c:v>
                </c:pt>
                <c:pt idx="544">
                  <c:v>1027.3333333333333</c:v>
                </c:pt>
                <c:pt idx="545">
                  <c:v>1028</c:v>
                </c:pt>
                <c:pt idx="546">
                  <c:v>1028.6666666666667</c:v>
                </c:pt>
                <c:pt idx="547">
                  <c:v>1028.6666666666667</c:v>
                </c:pt>
                <c:pt idx="548">
                  <c:v>1029</c:v>
                </c:pt>
                <c:pt idx="549">
                  <c:v>1029.6666666666667</c:v>
                </c:pt>
                <c:pt idx="550">
                  <c:v>1031</c:v>
                </c:pt>
                <c:pt idx="551">
                  <c:v>1031</c:v>
                </c:pt>
                <c:pt idx="552">
                  <c:v>1031</c:v>
                </c:pt>
                <c:pt idx="553">
                  <c:v>1031.3333333333333</c:v>
                </c:pt>
                <c:pt idx="554">
                  <c:v>1031.6666666666667</c:v>
                </c:pt>
                <c:pt idx="555">
                  <c:v>1032</c:v>
                </c:pt>
                <c:pt idx="556">
                  <c:v>1031.6666666666667</c:v>
                </c:pt>
                <c:pt idx="557">
                  <c:v>1033</c:v>
                </c:pt>
                <c:pt idx="558">
                  <c:v>1033.3333333333333</c:v>
                </c:pt>
                <c:pt idx="559">
                  <c:v>1033.6666666666667</c:v>
                </c:pt>
                <c:pt idx="560">
                  <c:v>1034.6666666666667</c:v>
                </c:pt>
                <c:pt idx="561">
                  <c:v>1035.6666666666667</c:v>
                </c:pt>
                <c:pt idx="562">
                  <c:v>1036.3333333333333</c:v>
                </c:pt>
                <c:pt idx="563">
                  <c:v>1037.3333333333333</c:v>
                </c:pt>
                <c:pt idx="564">
                  <c:v>1038</c:v>
                </c:pt>
                <c:pt idx="565">
                  <c:v>1039</c:v>
                </c:pt>
                <c:pt idx="566">
                  <c:v>1040</c:v>
                </c:pt>
                <c:pt idx="567">
                  <c:v>1040.3333333333333</c:v>
                </c:pt>
                <c:pt idx="568">
                  <c:v>1041</c:v>
                </c:pt>
                <c:pt idx="569">
                  <c:v>1041.3333333333333</c:v>
                </c:pt>
                <c:pt idx="570">
                  <c:v>1042.3333333333333</c:v>
                </c:pt>
                <c:pt idx="571">
                  <c:v>1043</c:v>
                </c:pt>
                <c:pt idx="572">
                  <c:v>1043.6666666666667</c:v>
                </c:pt>
                <c:pt idx="573">
                  <c:v>1044.3333333333333</c:v>
                </c:pt>
                <c:pt idx="574">
                  <c:v>1045.6666666666667</c:v>
                </c:pt>
                <c:pt idx="575">
                  <c:v>1047</c:v>
                </c:pt>
                <c:pt idx="576">
                  <c:v>1048.3333333333333</c:v>
                </c:pt>
                <c:pt idx="577">
                  <c:v>1050.3333333333333</c:v>
                </c:pt>
                <c:pt idx="578">
                  <c:v>1052.6666666666667</c:v>
                </c:pt>
                <c:pt idx="579">
                  <c:v>1055.3333333333333</c:v>
                </c:pt>
                <c:pt idx="580">
                  <c:v>1057.6666666666667</c:v>
                </c:pt>
                <c:pt idx="581">
                  <c:v>1059</c:v>
                </c:pt>
                <c:pt idx="582">
                  <c:v>1060</c:v>
                </c:pt>
                <c:pt idx="583">
                  <c:v>1061</c:v>
                </c:pt>
                <c:pt idx="584">
                  <c:v>1061.6666666666667</c:v>
                </c:pt>
                <c:pt idx="585">
                  <c:v>1062.6666666666667</c:v>
                </c:pt>
                <c:pt idx="586">
                  <c:v>1063</c:v>
                </c:pt>
                <c:pt idx="587">
                  <c:v>1063.3333333333333</c:v>
                </c:pt>
                <c:pt idx="588">
                  <c:v>1064.3333333333333</c:v>
                </c:pt>
                <c:pt idx="589">
                  <c:v>1064.3333333333333</c:v>
                </c:pt>
                <c:pt idx="590">
                  <c:v>1065.3333333333333</c:v>
                </c:pt>
                <c:pt idx="591">
                  <c:v>1066</c:v>
                </c:pt>
                <c:pt idx="592">
                  <c:v>1066.3333333333333</c:v>
                </c:pt>
                <c:pt idx="593">
                  <c:v>1067</c:v>
                </c:pt>
                <c:pt idx="594">
                  <c:v>1067.6666666666667</c:v>
                </c:pt>
                <c:pt idx="595">
                  <c:v>1068</c:v>
                </c:pt>
                <c:pt idx="596">
                  <c:v>1069</c:v>
                </c:pt>
                <c:pt idx="597">
                  <c:v>1069.6666666666667</c:v>
                </c:pt>
                <c:pt idx="598">
                  <c:v>1071</c:v>
                </c:pt>
                <c:pt idx="599">
                  <c:v>1072.3333333333333</c:v>
                </c:pt>
                <c:pt idx="600">
                  <c:v>1073.3333333333333</c:v>
                </c:pt>
                <c:pt idx="601">
                  <c:v>1074</c:v>
                </c:pt>
                <c:pt idx="602">
                  <c:v>1076</c:v>
                </c:pt>
                <c:pt idx="603">
                  <c:v>1078</c:v>
                </c:pt>
                <c:pt idx="604">
                  <c:v>1079.6666666666667</c:v>
                </c:pt>
                <c:pt idx="605">
                  <c:v>1080.6666666666667</c:v>
                </c:pt>
                <c:pt idx="606">
                  <c:v>1081.6666666666667</c:v>
                </c:pt>
                <c:pt idx="607">
                  <c:v>1083</c:v>
                </c:pt>
                <c:pt idx="608">
                  <c:v>1084</c:v>
                </c:pt>
                <c:pt idx="609">
                  <c:v>1085</c:v>
                </c:pt>
                <c:pt idx="610">
                  <c:v>1085.6666666666667</c:v>
                </c:pt>
                <c:pt idx="611">
                  <c:v>1087</c:v>
                </c:pt>
                <c:pt idx="612">
                  <c:v>1087.6666666666667</c:v>
                </c:pt>
                <c:pt idx="613">
                  <c:v>1088.6666666666667</c:v>
                </c:pt>
                <c:pt idx="614">
                  <c:v>1089.6666666666667</c:v>
                </c:pt>
                <c:pt idx="615">
                  <c:v>1090</c:v>
                </c:pt>
                <c:pt idx="616">
                  <c:v>1091.3333333333333</c:v>
                </c:pt>
                <c:pt idx="617">
                  <c:v>1092</c:v>
                </c:pt>
                <c:pt idx="618">
                  <c:v>1093</c:v>
                </c:pt>
                <c:pt idx="619">
                  <c:v>1094</c:v>
                </c:pt>
                <c:pt idx="620">
                  <c:v>1095.3333333333333</c:v>
                </c:pt>
                <c:pt idx="621">
                  <c:v>1096</c:v>
                </c:pt>
                <c:pt idx="622">
                  <c:v>1097.6666666666667</c:v>
                </c:pt>
                <c:pt idx="623">
                  <c:v>1099</c:v>
                </c:pt>
                <c:pt idx="624">
                  <c:v>1100.6666666666667</c:v>
                </c:pt>
                <c:pt idx="625">
                  <c:v>1102</c:v>
                </c:pt>
                <c:pt idx="626">
                  <c:v>1103.3333333333333</c:v>
                </c:pt>
                <c:pt idx="627">
                  <c:v>1105.3333333333333</c:v>
                </c:pt>
                <c:pt idx="628">
                  <c:v>1106.6666666666667</c:v>
                </c:pt>
                <c:pt idx="629">
                  <c:v>1107.6666666666667</c:v>
                </c:pt>
                <c:pt idx="630">
                  <c:v>1108.6666666666667</c:v>
                </c:pt>
                <c:pt idx="631">
                  <c:v>1110</c:v>
                </c:pt>
                <c:pt idx="632">
                  <c:v>1111.3333333333333</c:v>
                </c:pt>
                <c:pt idx="633">
                  <c:v>1112</c:v>
                </c:pt>
                <c:pt idx="634">
                  <c:v>1112.6666666666667</c:v>
                </c:pt>
                <c:pt idx="635">
                  <c:v>1113.3333333333333</c:v>
                </c:pt>
                <c:pt idx="636">
                  <c:v>1114.3333333333333</c:v>
                </c:pt>
                <c:pt idx="637">
                  <c:v>1115.6666666666667</c:v>
                </c:pt>
                <c:pt idx="638">
                  <c:v>1116.3333333333333</c:v>
                </c:pt>
                <c:pt idx="639">
                  <c:v>1116.6666666666667</c:v>
                </c:pt>
                <c:pt idx="640">
                  <c:v>1117.6666666666667</c:v>
                </c:pt>
                <c:pt idx="641">
                  <c:v>1118.3333333333333</c:v>
                </c:pt>
                <c:pt idx="642">
                  <c:v>1119</c:v>
                </c:pt>
                <c:pt idx="643">
                  <c:v>1120</c:v>
                </c:pt>
                <c:pt idx="644">
                  <c:v>1120.6666666666667</c:v>
                </c:pt>
                <c:pt idx="645">
                  <c:v>1122</c:v>
                </c:pt>
                <c:pt idx="646">
                  <c:v>1123.6666666666667</c:v>
                </c:pt>
                <c:pt idx="647">
                  <c:v>1125</c:v>
                </c:pt>
                <c:pt idx="648">
                  <c:v>1127</c:v>
                </c:pt>
                <c:pt idx="649">
                  <c:v>1128.6666666666667</c:v>
                </c:pt>
                <c:pt idx="650">
                  <c:v>1130.6666666666667</c:v>
                </c:pt>
                <c:pt idx="651">
                  <c:v>1133</c:v>
                </c:pt>
                <c:pt idx="652">
                  <c:v>1134.3333333333333</c:v>
                </c:pt>
                <c:pt idx="653">
                  <c:v>1136</c:v>
                </c:pt>
                <c:pt idx="654">
                  <c:v>1136.6666666666667</c:v>
                </c:pt>
                <c:pt idx="655">
                  <c:v>1137.6666666666667</c:v>
                </c:pt>
                <c:pt idx="656">
                  <c:v>1138.3333333333333</c:v>
                </c:pt>
                <c:pt idx="657">
                  <c:v>1138.6666666666667</c:v>
                </c:pt>
                <c:pt idx="658">
                  <c:v>1139.6666666666667</c:v>
                </c:pt>
                <c:pt idx="659">
                  <c:v>1140</c:v>
                </c:pt>
                <c:pt idx="660">
                  <c:v>1141</c:v>
                </c:pt>
                <c:pt idx="661">
                  <c:v>1141.6666666666667</c:v>
                </c:pt>
                <c:pt idx="662">
                  <c:v>1142</c:v>
                </c:pt>
                <c:pt idx="663">
                  <c:v>1142.6666666666667</c:v>
                </c:pt>
                <c:pt idx="664">
                  <c:v>1143.3333333333333</c:v>
                </c:pt>
                <c:pt idx="665">
                  <c:v>1144.3333333333333</c:v>
                </c:pt>
                <c:pt idx="666">
                  <c:v>1145</c:v>
                </c:pt>
                <c:pt idx="667">
                  <c:v>1145.3333333333333</c:v>
                </c:pt>
                <c:pt idx="668">
                  <c:v>1146.333333333333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68C4-2F4E-B2B1-0D74CEF64E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606550016"/>
        <c:axId val="610340512"/>
      </c:scatterChart>
      <c:valAx>
        <c:axId val="606550016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00" dirty="0">
                    <a:solidFill>
                      <a:schemeClr val="tx1"/>
                    </a:solidFill>
                  </a:rPr>
                  <a:t>Time [days]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4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10340512"/>
        <c:crosses val="autoZero"/>
        <c:crossBetween val="midCat"/>
        <c:majorUnit val="2"/>
        <c:minorUnit val="1"/>
      </c:valAx>
      <c:valAx>
        <c:axId val="61034051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00" dirty="0">
                    <a:solidFill>
                      <a:schemeClr val="tx1"/>
                    </a:solidFill>
                  </a:rPr>
                  <a:t>Pressure [hPa]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4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06550016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6539869947650618"/>
          <c:y val="0.43075567934960513"/>
          <c:w val="0.17169851497981706"/>
          <c:h val="0.2275895771340722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 sz="2000" b="0" i="0" baseline="0" dirty="0">
                <a:solidFill>
                  <a:schemeClr val="tx1"/>
                </a:solidFill>
                <a:effectLst/>
              </a:rPr>
              <a:t>Comparison of Biogas Potential from the Inocula Under Varying Conditions</a:t>
            </a:r>
            <a:endParaRPr lang="en-US" sz="2000" dirty="0">
              <a:solidFill>
                <a:schemeClr val="tx1"/>
              </a:solidFill>
              <a:effectLst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pillar diagram volumes'!$R$5</c:f>
              <c:strCache>
                <c:ptCount val="1"/>
                <c:pt idx="0">
                  <c:v>Two Weeks</c:v>
                </c:pt>
              </c:strCache>
            </c:strRef>
          </c:tx>
          <c:spPr>
            <a:solidFill>
              <a:srgbClr val="0072BA"/>
            </a:solidFill>
            <a:ln>
              <a:noFill/>
            </a:ln>
            <a:effectLst/>
          </c:spPr>
          <c:invertIfNegative val="0"/>
          <c:cat>
            <c:multiLvlStrRef>
              <c:f>'pillar diagram volumes'!$P$6:$Q$23</c:f>
              <c:multiLvlStrCache>
                <c:ptCount val="18"/>
                <c:lvl>
                  <c:pt idx="0">
                    <c:v>1</c:v>
                  </c:pt>
                  <c:pt idx="1">
                    <c:v>2</c:v>
                  </c:pt>
                  <c:pt idx="2">
                    <c:v>3</c:v>
                  </c:pt>
                  <c:pt idx="3">
                    <c:v>1</c:v>
                  </c:pt>
                  <c:pt idx="4">
                    <c:v>2</c:v>
                  </c:pt>
                  <c:pt idx="5">
                    <c:v>3</c:v>
                  </c:pt>
                  <c:pt idx="6">
                    <c:v>1</c:v>
                  </c:pt>
                  <c:pt idx="7">
                    <c:v>2</c:v>
                  </c:pt>
                  <c:pt idx="8">
                    <c:v>3</c:v>
                  </c:pt>
                  <c:pt idx="9">
                    <c:v>1</c:v>
                  </c:pt>
                  <c:pt idx="10">
                    <c:v>2</c:v>
                  </c:pt>
                  <c:pt idx="11">
                    <c:v>3</c:v>
                  </c:pt>
                  <c:pt idx="12">
                    <c:v>1</c:v>
                  </c:pt>
                  <c:pt idx="13">
                    <c:v>2</c:v>
                  </c:pt>
                  <c:pt idx="14">
                    <c:v>3</c:v>
                  </c:pt>
                  <c:pt idx="15">
                    <c:v>1</c:v>
                  </c:pt>
                  <c:pt idx="16">
                    <c:v>2</c:v>
                  </c:pt>
                  <c:pt idx="17">
                    <c:v>3</c:v>
                  </c:pt>
                </c:lvl>
                <c:lvl>
                  <c:pt idx="0">
                    <c:v>Fresh Sewage Sludge</c:v>
                  </c:pt>
                  <c:pt idx="3">
                    <c:v>Stored Sewage Sludge</c:v>
                  </c:pt>
                  <c:pt idx="6">
                    <c:v>Unscreened Cow Manure</c:v>
                  </c:pt>
                  <c:pt idx="9">
                    <c:v>Screened Cow Manure</c:v>
                  </c:pt>
                  <c:pt idx="12">
                    <c:v>Stirred Fermentation Residues</c:v>
                  </c:pt>
                  <c:pt idx="15">
                    <c:v>Unstirred Fermentation Residues</c:v>
                  </c:pt>
                </c:lvl>
              </c:multiLvlStrCache>
            </c:multiLvlStrRef>
          </c:cat>
          <c:val>
            <c:numRef>
              <c:f>'pillar diagram volumes'!$R$6:$R$23</c:f>
              <c:numCache>
                <c:formatCode>General</c:formatCode>
                <c:ptCount val="18"/>
                <c:pt idx="0">
                  <c:v>249.54668315946864</c:v>
                </c:pt>
                <c:pt idx="1">
                  <c:v>218.7424014414392</c:v>
                </c:pt>
                <c:pt idx="2">
                  <c:v>243.16523824269908</c:v>
                </c:pt>
                <c:pt idx="3">
                  <c:v>81.038899999999998</c:v>
                </c:pt>
                <c:pt idx="4">
                  <c:v>86.912199999999999</c:v>
                </c:pt>
                <c:pt idx="5">
                  <c:v>80.361199999999997</c:v>
                </c:pt>
                <c:pt idx="6">
                  <c:v>51.86063704174456</c:v>
                </c:pt>
                <c:pt idx="7">
                  <c:v>55.470309136996697</c:v>
                </c:pt>
                <c:pt idx="8">
                  <c:v>51.108776026863993</c:v>
                </c:pt>
                <c:pt idx="9">
                  <c:v>201.7801643945983</c:v>
                </c:pt>
                <c:pt idx="10">
                  <c:v>115.33715623505057</c:v>
                </c:pt>
                <c:pt idx="11">
                  <c:v>218.17545600892871</c:v>
                </c:pt>
                <c:pt idx="12">
                  <c:v>76.784478569109908</c:v>
                </c:pt>
                <c:pt idx="13">
                  <c:v>82.793415459125882</c:v>
                </c:pt>
                <c:pt idx="14">
                  <c:v>94.293628761650766</c:v>
                </c:pt>
                <c:pt idx="15">
                  <c:v>63.940750044493626</c:v>
                </c:pt>
                <c:pt idx="16">
                  <c:v>69.859202760097872</c:v>
                </c:pt>
                <c:pt idx="17">
                  <c:v>77.5216883432989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656-C94E-B38F-A54FF8DA2CA4}"/>
            </c:ext>
          </c:extLst>
        </c:ser>
        <c:ser>
          <c:idx val="1"/>
          <c:order val="1"/>
          <c:tx>
            <c:strRef>
              <c:f>'pillar diagram volumes'!$S$5</c:f>
              <c:strCache>
                <c:ptCount val="1"/>
                <c:pt idx="0">
                  <c:v>Additional Two Week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multiLvlStrRef>
              <c:f>'pillar diagram volumes'!$P$6:$Q$23</c:f>
              <c:multiLvlStrCache>
                <c:ptCount val="18"/>
                <c:lvl>
                  <c:pt idx="0">
                    <c:v>1</c:v>
                  </c:pt>
                  <c:pt idx="1">
                    <c:v>2</c:v>
                  </c:pt>
                  <c:pt idx="2">
                    <c:v>3</c:v>
                  </c:pt>
                  <c:pt idx="3">
                    <c:v>1</c:v>
                  </c:pt>
                  <c:pt idx="4">
                    <c:v>2</c:v>
                  </c:pt>
                  <c:pt idx="5">
                    <c:v>3</c:v>
                  </c:pt>
                  <c:pt idx="6">
                    <c:v>1</c:v>
                  </c:pt>
                  <c:pt idx="7">
                    <c:v>2</c:v>
                  </c:pt>
                  <c:pt idx="8">
                    <c:v>3</c:v>
                  </c:pt>
                  <c:pt idx="9">
                    <c:v>1</c:v>
                  </c:pt>
                  <c:pt idx="10">
                    <c:v>2</c:v>
                  </c:pt>
                  <c:pt idx="11">
                    <c:v>3</c:v>
                  </c:pt>
                  <c:pt idx="12">
                    <c:v>1</c:v>
                  </c:pt>
                  <c:pt idx="13">
                    <c:v>2</c:v>
                  </c:pt>
                  <c:pt idx="14">
                    <c:v>3</c:v>
                  </c:pt>
                  <c:pt idx="15">
                    <c:v>1</c:v>
                  </c:pt>
                  <c:pt idx="16">
                    <c:v>2</c:v>
                  </c:pt>
                  <c:pt idx="17">
                    <c:v>3</c:v>
                  </c:pt>
                </c:lvl>
                <c:lvl>
                  <c:pt idx="0">
                    <c:v>Fresh Sewage Sludge</c:v>
                  </c:pt>
                  <c:pt idx="3">
                    <c:v>Stored Sewage Sludge</c:v>
                  </c:pt>
                  <c:pt idx="6">
                    <c:v>Unscreened Cow Manure</c:v>
                  </c:pt>
                  <c:pt idx="9">
                    <c:v>Screened Cow Manure</c:v>
                  </c:pt>
                  <c:pt idx="12">
                    <c:v>Stirred Fermentation Residues</c:v>
                  </c:pt>
                  <c:pt idx="15">
                    <c:v>Unstirred Fermentation Residues</c:v>
                  </c:pt>
                </c:lvl>
              </c:multiLvlStrCache>
            </c:multiLvlStrRef>
          </c:cat>
          <c:val>
            <c:numRef>
              <c:f>'pillar diagram volumes'!$S$6:$S$23</c:f>
              <c:numCache>
                <c:formatCode>General</c:formatCode>
                <c:ptCount val="18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519.38802770594612</c:v>
                </c:pt>
                <c:pt idx="10">
                  <c:v>531.75296137253304</c:v>
                </c:pt>
                <c:pt idx="11">
                  <c:v>389.06234796371166</c:v>
                </c:pt>
                <c:pt idx="12">
                  <c:v>82.306021430890084</c:v>
                </c:pt>
                <c:pt idx="13">
                  <c:v>82.920784540874124</c:v>
                </c:pt>
                <c:pt idx="14">
                  <c:v>82.625371238349246</c:v>
                </c:pt>
                <c:pt idx="15">
                  <c:v>57.877249955506372</c:v>
                </c:pt>
                <c:pt idx="16">
                  <c:v>67.85119723990212</c:v>
                </c:pt>
                <c:pt idx="17">
                  <c:v>86.6107116567010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656-C94E-B38F-A54FF8DA2CA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3200288"/>
        <c:axId val="13055744"/>
      </c:barChart>
      <c:catAx>
        <c:axId val="132002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055744"/>
        <c:crosses val="autoZero"/>
        <c:auto val="1"/>
        <c:lblAlgn val="ctr"/>
        <c:lblOffset val="100"/>
        <c:noMultiLvlLbl val="0"/>
      </c:catAx>
      <c:valAx>
        <c:axId val="1305574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00" dirty="0">
                    <a:solidFill>
                      <a:schemeClr val="tx1"/>
                    </a:solidFill>
                  </a:rPr>
                  <a:t> NL</a:t>
                </a:r>
                <a:r>
                  <a:rPr lang="en-US" sz="1400" baseline="0" dirty="0">
                    <a:solidFill>
                      <a:schemeClr val="tx1"/>
                    </a:solidFill>
                  </a:rPr>
                  <a:t> / kg oDS</a:t>
                </a:r>
                <a:endParaRPr lang="en-US" sz="1400" dirty="0">
                  <a:solidFill>
                    <a:schemeClr val="tx1"/>
                  </a:solidFill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4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20028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2652407308278882"/>
          <c:y val="0.93240269599674108"/>
          <c:w val="0.55336515639676398"/>
          <c:h val="6.524571343924749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 sz="2000" dirty="0">
                <a:solidFill>
                  <a:schemeClr val="tx1"/>
                </a:solidFill>
              </a:rPr>
              <a:t>Comparison of Measured and Corrected Average Volume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v>Measured</c:v>
          </c:tx>
          <c:spPr>
            <a:solidFill>
              <a:srgbClr val="0070C0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72B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0CCD-BF46-934B-42975AD1FC08}"/>
              </c:ext>
            </c:extLst>
          </c:dPt>
          <c:cat>
            <c:strRef>
              <c:f>Sheet1!$A$3:$A$8</c:f>
              <c:strCache>
                <c:ptCount val="6"/>
                <c:pt idx="0">
                  <c:v>Fresh SS</c:v>
                </c:pt>
                <c:pt idx="1">
                  <c:v>Stored SS</c:v>
                </c:pt>
                <c:pt idx="2">
                  <c:v>Unscreened CM</c:v>
                </c:pt>
                <c:pt idx="3">
                  <c:v>Screened CM</c:v>
                </c:pt>
                <c:pt idx="4">
                  <c:v>Stirred FR</c:v>
                </c:pt>
                <c:pt idx="5">
                  <c:v>Unstirred FR</c:v>
                </c:pt>
              </c:strCache>
            </c:strRef>
          </c:cat>
          <c:val>
            <c:numRef>
              <c:f>Sheet1!$E$3:$E$8</c:f>
              <c:numCache>
                <c:formatCode>0.00</c:formatCode>
                <c:ptCount val="6"/>
                <c:pt idx="0">
                  <c:v>237.15333333333334</c:v>
                </c:pt>
                <c:pt idx="1">
                  <c:v>82.77</c:v>
                </c:pt>
                <c:pt idx="2">
                  <c:v>52.813333333333333</c:v>
                </c:pt>
                <c:pt idx="3">
                  <c:v>658.5</c:v>
                </c:pt>
                <c:pt idx="4">
                  <c:v>167.24</c:v>
                </c:pt>
                <c:pt idx="5">
                  <c:v>141.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CCD-BF46-934B-42975AD1FC08}"/>
            </c:ext>
          </c:extLst>
        </c:ser>
        <c:ser>
          <c:idx val="1"/>
          <c:order val="1"/>
          <c:tx>
            <c:v>Corrected</c:v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3:$A$8</c:f>
              <c:strCache>
                <c:ptCount val="6"/>
                <c:pt idx="0">
                  <c:v>Fresh SS</c:v>
                </c:pt>
                <c:pt idx="1">
                  <c:v>Stored SS</c:v>
                </c:pt>
                <c:pt idx="2">
                  <c:v>Unscreened CM</c:v>
                </c:pt>
                <c:pt idx="3">
                  <c:v>Screened CM</c:v>
                </c:pt>
                <c:pt idx="4">
                  <c:v>Stirred FR</c:v>
                </c:pt>
                <c:pt idx="5">
                  <c:v>Unstirred FR</c:v>
                </c:pt>
              </c:strCache>
            </c:strRef>
          </c:cat>
          <c:val>
            <c:numRef>
              <c:f>Sheet1!$F$3:$F$8</c:f>
              <c:numCache>
                <c:formatCode>0.00</c:formatCode>
                <c:ptCount val="6"/>
                <c:pt idx="0">
                  <c:v>220.59333333333333</c:v>
                </c:pt>
                <c:pt idx="1">
                  <c:v>77.353333333333339</c:v>
                </c:pt>
                <c:pt idx="2">
                  <c:v>49.043333333333329</c:v>
                </c:pt>
                <c:pt idx="3">
                  <c:v>625.26333333333332</c:v>
                </c:pt>
                <c:pt idx="4">
                  <c:v>154.41666666666666</c:v>
                </c:pt>
                <c:pt idx="5">
                  <c:v>128.193333333333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CCD-BF46-934B-42975AD1FC0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53429471"/>
        <c:axId val="453299711"/>
      </c:barChart>
      <c:catAx>
        <c:axId val="45342947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53299711"/>
        <c:crossesAt val="0"/>
        <c:auto val="1"/>
        <c:lblAlgn val="ctr"/>
        <c:lblOffset val="100"/>
        <c:noMultiLvlLbl val="0"/>
      </c:catAx>
      <c:valAx>
        <c:axId val="45329971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00" dirty="0">
                    <a:solidFill>
                      <a:schemeClr val="tx1"/>
                    </a:solidFill>
                  </a:rPr>
                  <a:t>NL</a:t>
                </a:r>
                <a:r>
                  <a:rPr lang="en-US" sz="1400" baseline="0" dirty="0">
                    <a:solidFill>
                      <a:schemeClr val="tx1"/>
                    </a:solidFill>
                  </a:rPr>
                  <a:t> / kg oDS</a:t>
                </a:r>
                <a:endParaRPr lang="en-US" sz="1400" dirty="0">
                  <a:solidFill>
                    <a:schemeClr val="tx1"/>
                  </a:solidFill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4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53429471"/>
        <c:crosses val="autoZero"/>
        <c:crossBetween val="between"/>
        <c:minorUnit val="20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938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777607" y="0"/>
            <a:ext cx="2889938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F11D1E-962B-4F1C-AB1B-F760EEAB72BE}" type="datetimeFigureOut">
              <a:rPr lang="de-DE" smtClean="0"/>
              <a:pPr/>
              <a:t>26.07.18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30092"/>
            <a:ext cx="2889938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777607" y="9430092"/>
            <a:ext cx="2889938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74EEDA-202C-4BB8-B5F8-59E68293088E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5738877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938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777607" y="0"/>
            <a:ext cx="2889938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938226D-47F2-4C83-A95A-C595C97A41D0}" type="datetimeFigureOut">
              <a:rPr lang="de-DE" smtClean="0"/>
              <a:pPr/>
              <a:t>26.07.18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852488" y="744538"/>
            <a:ext cx="4964112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66909" y="4715908"/>
            <a:ext cx="5335270" cy="44677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30092"/>
            <a:ext cx="2889938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777607" y="9430092"/>
            <a:ext cx="2889938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4F3083C-74D8-4C91-B1AA-ADE43A07AE55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6948574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F3083C-74D8-4C91-B1AA-ADE43A07AE55}" type="slidenum">
              <a:rPr lang="de-DE" smtClean="0"/>
              <a:pPr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1714062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F3083C-74D8-4C91-B1AA-ADE43A07AE55}" type="slidenum">
              <a:rPr lang="de-DE" smtClean="0"/>
              <a:pPr/>
              <a:t>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1804448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F3083C-74D8-4C91-B1AA-ADE43A07AE55}" type="slidenum">
              <a:rPr lang="de-DE" smtClean="0"/>
              <a:pPr/>
              <a:t>1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8722409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oDS and CN, differences from before and after incubation, since before the values were all the same </a:t>
            </a:r>
            <a:r>
              <a:rPr lang="en-US" dirty="0">
                <a:sym typeface="Wingdings" pitchFamily="2" charset="2"/>
              </a:rPr>
              <a:t> no correlation to highest or lowest yiel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ym typeface="Wingdings" pitchFamily="2" charset="2"/>
              </a:rPr>
              <a:t>Unstirred FR only inoculum where C/N increased during incub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F3083C-74D8-4C91-B1AA-ADE43A07AE55}" type="slidenum">
              <a:rPr lang="de-DE" smtClean="0"/>
              <a:pPr/>
              <a:t>2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7704200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ue to temperature fluctuations big error, on average 8% added through simulated bioga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F3083C-74D8-4C91-B1AA-ADE43A07AE55}" type="slidenum">
              <a:rPr lang="de-DE" smtClean="0"/>
              <a:pPr/>
              <a:t>2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775526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F3083C-74D8-4C91-B1AA-ADE43A07AE55}" type="slidenum">
              <a:rPr lang="de-DE" smtClean="0"/>
              <a:pPr/>
              <a:t>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1233000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F3083C-74D8-4C91-B1AA-ADE43A07AE55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3455930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x. </a:t>
            </a:r>
            <a:r>
              <a:rPr lang="en-US"/>
              <a:t>230 hPa increas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F3083C-74D8-4C91-B1AA-ADE43A07AE55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0021361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ast increases correlate with pressure releases </a:t>
            </a:r>
            <a:r>
              <a:rPr lang="en-US" dirty="0">
                <a:sym typeface="Wingdings" pitchFamily="2" charset="2"/>
              </a:rPr>
              <a:t> temperature fluctuations</a:t>
            </a:r>
          </a:p>
          <a:p>
            <a:r>
              <a:rPr lang="en-US" dirty="0">
                <a:sym typeface="Wingdings" pitchFamily="2" charset="2"/>
              </a:rPr>
              <a:t>Restricted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F3083C-74D8-4C91-B1AA-ADE43A07AE55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5206787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Restricted and linear; screened extende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F3083C-74D8-4C91-B1AA-ADE43A07AE55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0417149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irst restricted, then linear, extende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F3083C-74D8-4C91-B1AA-ADE43A07AE55}" type="slidenum">
              <a:rPr lang="de-DE" smtClean="0"/>
              <a:pPr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0598255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Biogas potential expressed as NL/kg oDS </a:t>
            </a:r>
            <a:r>
              <a:rPr lang="en-US" dirty="0">
                <a:sym typeface="Wingdings" pitchFamily="2" charset="2"/>
              </a:rPr>
              <a:t> better comparability</a:t>
            </a:r>
          </a:p>
          <a:p>
            <a:r>
              <a:rPr lang="en-US" dirty="0">
                <a:sym typeface="Wingdings" pitchFamily="2" charset="2"/>
              </a:rPr>
              <a:t>No correlation between oDS degradation and C/N ratio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F3083C-74D8-4C91-B1AA-ADE43A07AE55}" type="slidenum">
              <a:rPr lang="de-DE" smtClean="0"/>
              <a:pPr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8076561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F3083C-74D8-4C91-B1AA-ADE43A07AE55}" type="slidenum">
              <a:rPr lang="de-DE" smtClean="0"/>
              <a:pPr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6390842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F3083C-74D8-4C91-B1AA-ADE43A07AE55}" type="slidenum">
              <a:rPr lang="de-DE" smtClean="0"/>
              <a:pPr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13504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7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6" Type="http://schemas.openxmlformats.org/officeDocument/2006/relationships/image" Target="../media/image7.emf"/><Relationship Id="rId5" Type="http://schemas.openxmlformats.org/officeDocument/2006/relationships/image" Target="../media/image6.wmf"/><Relationship Id="rId4" Type="http://schemas.openxmlformats.org/officeDocument/2006/relationships/image" Target="../media/image5.jp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539998" y="5013176"/>
            <a:ext cx="6786002" cy="770400"/>
          </a:xfrm>
        </p:spPr>
        <p:txBody>
          <a:bodyPr anchor="b"/>
          <a:lstStyle>
            <a:lvl1pPr>
              <a:defRPr sz="2200"/>
            </a:lvl1pPr>
          </a:lstStyle>
          <a:p>
            <a:endParaRPr lang="en-US" noProof="0" dirty="0"/>
          </a:p>
        </p:txBody>
      </p:sp>
      <p:pic>
        <p:nvPicPr>
          <p:cNvPr id="42" name="Picture 9" descr="TU_Logo_lang_RGB_rot_PPT-1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44000" y="539750"/>
            <a:ext cx="2160587" cy="1206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A4339AE2-1D41-FB4C-8262-0A66CAF4992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t="14863" r="12652" b="4493"/>
          <a:stretch/>
        </p:blipFill>
        <p:spPr>
          <a:xfrm>
            <a:off x="2555776" y="2241120"/>
            <a:ext cx="3384376" cy="2268000"/>
          </a:xfrm>
          <a:prstGeom prst="rect">
            <a:avLst/>
          </a:prstGeom>
        </p:spPr>
      </p:pic>
      <p:pic>
        <p:nvPicPr>
          <p:cNvPr id="1027" name="Picture 3"/>
          <p:cNvPicPr>
            <a:picLocks noChangeAspect="1" noChangeArrowheads="1"/>
          </p:cNvPicPr>
          <p:nvPr userDrawn="1"/>
        </p:nvPicPr>
        <p:blipFill rotWithShape="1">
          <a:blip r:embed="rId5"/>
          <a:srcRect r="23269"/>
          <a:stretch/>
        </p:blipFill>
        <p:spPr bwMode="auto">
          <a:xfrm>
            <a:off x="0" y="2241120"/>
            <a:ext cx="2267744" cy="226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1" name="Rectangle 9"/>
          <p:cNvSpPr>
            <a:spLocks noChangeArrowheads="1"/>
          </p:cNvSpPr>
          <p:nvPr userDrawn="1"/>
        </p:nvSpPr>
        <p:spPr bwMode="auto">
          <a:xfrm>
            <a:off x="539551" y="5859272"/>
            <a:ext cx="6492240" cy="18000"/>
          </a:xfrm>
          <a:prstGeom prst="rect">
            <a:avLst/>
          </a:prstGeom>
          <a:solidFill>
            <a:schemeClr val="accent2"/>
          </a:solidFill>
          <a:ln w="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 dirty="0">
              <a:ln>
                <a:noFill/>
              </a:ln>
            </a:endParaRPr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0"/>
          </p:nvPr>
        </p:nvSpPr>
        <p:spPr>
          <a:xfrm>
            <a:off x="540000" y="1268760"/>
            <a:ext cx="4292109" cy="597600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en-US" noProof="0" dirty="0"/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1"/>
          </p:nvPr>
        </p:nvSpPr>
        <p:spPr>
          <a:xfrm>
            <a:off x="539999" y="5950800"/>
            <a:ext cx="6766112" cy="5976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de-DE" dirty="0"/>
          </a:p>
        </p:txBody>
      </p:sp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7326000" y="5230800"/>
            <a:ext cx="1298882" cy="111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D1322225-730C-DD4A-AF23-6D731FF456E9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0" y="337054"/>
            <a:ext cx="1611891" cy="1611891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elfolie (einfach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17989" y="1484784"/>
            <a:ext cx="6054211" cy="1000132"/>
          </a:xfrm>
        </p:spPr>
        <p:txBody>
          <a:bodyPr anchor="b"/>
          <a:lstStyle>
            <a:lvl1pPr>
              <a:defRPr sz="2800"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9" name="Rectangle 9"/>
          <p:cNvSpPr>
            <a:spLocks noChangeArrowheads="1"/>
          </p:cNvSpPr>
          <p:nvPr/>
        </p:nvSpPr>
        <p:spPr bwMode="auto">
          <a:xfrm>
            <a:off x="317989" y="2617487"/>
            <a:ext cx="6312877" cy="18000"/>
          </a:xfrm>
          <a:prstGeom prst="rect">
            <a:avLst/>
          </a:prstGeom>
          <a:solidFill>
            <a:srgbClr val="C50E1F"/>
          </a:solidFill>
          <a:ln w="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 dirty="0">
              <a:ln>
                <a:noFill/>
              </a:ln>
            </a:endParaRPr>
          </a:p>
        </p:txBody>
      </p:sp>
      <p:pic>
        <p:nvPicPr>
          <p:cNvPr id="10" name="Grafik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66661" y="758332"/>
            <a:ext cx="2393610" cy="1452904"/>
          </a:xfrm>
          <a:prstGeom prst="rect">
            <a:avLst/>
          </a:prstGeom>
        </p:spPr>
      </p:pic>
      <p:sp>
        <p:nvSpPr>
          <p:cNvPr id="5" name="AutoShape 3"/>
          <p:cNvSpPr>
            <a:spLocks noChangeAspect="1" noChangeArrowheads="1" noTextEdit="1"/>
          </p:cNvSpPr>
          <p:nvPr userDrawn="1"/>
        </p:nvSpPr>
        <p:spPr bwMode="auto">
          <a:xfrm>
            <a:off x="4845620" y="424832"/>
            <a:ext cx="1526931" cy="1431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323850" y="3357563"/>
            <a:ext cx="5543550" cy="3240087"/>
          </a:xfrm>
        </p:spPr>
        <p:txBody>
          <a:bodyPr anchor="ctr"/>
          <a:lstStyle>
            <a:lvl1pPr algn="ctr"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e-DE" dirty="0"/>
              <a:t>Platz für Bilder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316800" y="907200"/>
            <a:ext cx="6055200" cy="543600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/>
            </a:lvl1pPr>
          </a:lstStyle>
          <a:p>
            <a:pPr lvl="0"/>
            <a:r>
              <a:rPr lang="de-DE" dirty="0"/>
              <a:t>&lt;Modul&gt; durch Klicken bearbeiten</a:t>
            </a:r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4" hasCustomPrompt="1"/>
          </p:nvPr>
        </p:nvSpPr>
        <p:spPr>
          <a:xfrm>
            <a:off x="316800" y="2714400"/>
            <a:ext cx="6314400" cy="5436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e-DE" dirty="0"/>
              <a:t>&lt;Untertitel/</a:t>
            </a:r>
            <a:r>
              <a:rPr lang="de-DE" dirty="0" err="1"/>
              <a:t>DozentIn</a:t>
            </a:r>
            <a:r>
              <a:rPr lang="de-DE" dirty="0"/>
              <a:t>&gt; durch Klicken bearbeiten</a:t>
            </a:r>
          </a:p>
        </p:txBody>
      </p:sp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6102000" y="5014800"/>
            <a:ext cx="1553647" cy="133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10"/>
          </p:nvPr>
        </p:nvSpPr>
        <p:spPr>
          <a:xfrm>
            <a:off x="277200" y="1004400"/>
            <a:ext cx="8589600" cy="5234400"/>
          </a:xfrm>
        </p:spPr>
        <p:txBody>
          <a:bodyPr/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0"/>
          </p:nvPr>
        </p:nvSpPr>
        <p:spPr>
          <a:xfrm>
            <a:off x="277200" y="1000800"/>
            <a:ext cx="4294800" cy="52344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1"/>
          </p:nvPr>
        </p:nvSpPr>
        <p:spPr>
          <a:xfrm>
            <a:off x="4572000" y="1000799"/>
            <a:ext cx="4294800" cy="52344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1094516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wmf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3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5" name="Picture 1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8100392" y="188704"/>
            <a:ext cx="774271" cy="57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11560" y="188640"/>
            <a:ext cx="7560840" cy="57606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36000" rIns="287354" bIns="36000" numCol="1" anchor="ctr" anchorCtr="0" compatLnSpc="1">
            <a:prstTxWarp prst="textNoShape">
              <a:avLst/>
            </a:prstTxWarp>
            <a:normAutofit/>
          </a:bodyPr>
          <a:lstStyle/>
          <a:p>
            <a:pPr lvl="0" algn="l" defTabSz="1042988" rtl="0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139200" y="1000108"/>
            <a:ext cx="5727600" cy="488157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180000" bIns="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</p:txBody>
      </p:sp>
      <p:sp>
        <p:nvSpPr>
          <p:cNvPr id="8" name="Text Box 3"/>
          <p:cNvSpPr txBox="1">
            <a:spLocks noChangeArrowheads="1"/>
          </p:cNvSpPr>
          <p:nvPr/>
        </p:nvSpPr>
        <p:spPr bwMode="auto">
          <a:xfrm>
            <a:off x="8147374" y="6549329"/>
            <a:ext cx="455150" cy="216024"/>
          </a:xfrm>
          <a:prstGeom prst="rect">
            <a:avLst/>
          </a:prstGeom>
          <a:noFill/>
          <a:ln w="38100">
            <a:noFill/>
            <a:miter lim="800000"/>
            <a:headEnd/>
            <a:tailEnd type="none" w="med" len="sm"/>
          </a:ln>
          <a:effectLst/>
        </p:spPr>
        <p:txBody>
          <a:bodyPr lIns="0" tIns="36000" rIns="0" bIns="0" anchor="b" anchorCtr="0"/>
          <a:lstStyle/>
          <a:p>
            <a:pPr algn="r" defTabSz="1042988">
              <a:spcAft>
                <a:spcPct val="30000"/>
              </a:spcAft>
            </a:pPr>
            <a:fld id="{AAD0CA5F-DDF1-433B-8CBB-666A911A4710}" type="slidenum">
              <a:rPr lang="de-DE" sz="1400" b="0" smtClean="0">
                <a:solidFill>
                  <a:schemeClr val="bg2">
                    <a:lumMod val="25000"/>
                  </a:schemeClr>
                </a:solidFill>
                <a:latin typeface="+mn-lt"/>
              </a:rPr>
              <a:pPr algn="r" defTabSz="1042988">
                <a:spcAft>
                  <a:spcPct val="30000"/>
                </a:spcAft>
              </a:pPr>
              <a:t>‹#›</a:t>
            </a:fld>
            <a:endParaRPr lang="de-DE" sz="1200" b="0" dirty="0">
              <a:solidFill>
                <a:schemeClr val="bg2">
                  <a:lumMod val="25000"/>
                </a:schemeClr>
              </a:solidFill>
              <a:latin typeface="+mn-lt"/>
            </a:endParaRPr>
          </a:p>
        </p:txBody>
      </p:sp>
      <p:cxnSp>
        <p:nvCxnSpPr>
          <p:cNvPr id="18" name="Straight Connector 4"/>
          <p:cNvCxnSpPr/>
          <p:nvPr userDrawn="1"/>
        </p:nvCxnSpPr>
        <p:spPr bwMode="auto">
          <a:xfrm>
            <a:off x="538163" y="6453336"/>
            <a:ext cx="6156000" cy="0"/>
          </a:xfrm>
          <a:prstGeom prst="line">
            <a:avLst/>
          </a:prstGeom>
          <a:solidFill>
            <a:schemeClr val="tx2"/>
          </a:solidFill>
          <a:ln w="63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9" name="Straight Connector 4"/>
          <p:cNvCxnSpPr/>
          <p:nvPr userDrawn="1"/>
        </p:nvCxnSpPr>
        <p:spPr bwMode="auto">
          <a:xfrm>
            <a:off x="7632000" y="6453336"/>
            <a:ext cx="972000" cy="0"/>
          </a:xfrm>
          <a:prstGeom prst="line">
            <a:avLst/>
          </a:prstGeom>
          <a:solidFill>
            <a:schemeClr val="tx2"/>
          </a:solidFill>
          <a:ln w="63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" name="Textfeld 9"/>
          <p:cNvSpPr txBox="1"/>
          <p:nvPr userDrawn="1"/>
        </p:nvSpPr>
        <p:spPr>
          <a:xfrm>
            <a:off x="608086" y="6454497"/>
            <a:ext cx="4972026" cy="43088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endParaRPr lang="en-US" sz="1100" noProof="0" dirty="0">
              <a:solidFill>
                <a:schemeClr val="bg2">
                  <a:lumMod val="25000"/>
                </a:schemeClr>
              </a:solidFill>
            </a:endParaRPr>
          </a:p>
          <a:p>
            <a:r>
              <a:rPr lang="en-US" sz="1100" noProof="0" dirty="0">
                <a:solidFill>
                  <a:schemeClr val="bg2">
                    <a:lumMod val="25000"/>
                  </a:schemeClr>
                </a:solidFill>
              </a:rPr>
              <a:t>Alexandra Erfort | Final Presentation – Bachelor Thesis</a:t>
            </a:r>
          </a:p>
        </p:txBody>
      </p:sp>
      <p:pic>
        <p:nvPicPr>
          <p:cNvPr id="2051" name="Picture 3"/>
          <p:cNvPicPr>
            <a:picLocks noChangeAspect="1" noChangeArrowheads="1"/>
          </p:cNvPicPr>
          <p:nvPr userDrawn="1"/>
        </p:nvPicPr>
        <p:blipFill>
          <a:blip r:embed="rId8"/>
          <a:srcRect/>
          <a:stretch>
            <a:fillRect/>
          </a:stretch>
        </p:blipFill>
        <p:spPr bwMode="auto">
          <a:xfrm>
            <a:off x="0" y="187200"/>
            <a:ext cx="579272" cy="57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32" name="Picture 131"/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6840000" y="6253200"/>
            <a:ext cx="666221" cy="5724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4" r:id="rId2"/>
    <p:sldLayoutId id="2147483684" r:id="rId3"/>
    <p:sldLayoutId id="2147483705" r:id="rId4"/>
    <p:sldLayoutId id="2147483702" r:id="rId5"/>
  </p:sldLayoutIdLst>
  <p:txStyles>
    <p:titleStyle>
      <a:lvl1pPr algn="l" defTabSz="914400" rtl="0" eaLnBrk="1" latinLnBrk="0" hangingPunct="1">
        <a:spcBef>
          <a:spcPct val="0"/>
        </a:spcBef>
        <a:buNone/>
        <a:defRPr lang="de-DE" sz="2800" b="1" kern="1200" dirty="0" smtClean="0">
          <a:solidFill>
            <a:schemeClr val="tx1"/>
          </a:solidFill>
          <a:latin typeface="+mj-lt"/>
          <a:ea typeface="+mj-ea"/>
          <a:cs typeface="Arial" pitchFamily="34" charset="0"/>
        </a:defRPr>
      </a:lvl1pPr>
    </p:titleStyle>
    <p:bodyStyle>
      <a:lvl1pPr marL="342900" indent="-342900" algn="l" defTabSz="914400" rtl="0" eaLnBrk="1" fontAlgn="base" latinLnBrk="0" hangingPunct="1">
        <a:spcBef>
          <a:spcPct val="20000"/>
        </a:spcBef>
        <a:spcAft>
          <a:spcPct val="20000"/>
        </a:spcAft>
        <a:buClr>
          <a:schemeClr val="accent6"/>
        </a:buClr>
        <a:buSzPct val="75000"/>
        <a:buFont typeface="Wingdings 3" pitchFamily="18" charset="2"/>
        <a:buChar char="u"/>
        <a:tabLst>
          <a:tab pos="266700" algn="l"/>
          <a:tab pos="631825" algn="l"/>
          <a:tab pos="981075" algn="l"/>
        </a:tabLst>
        <a:defRPr lang="de-DE" sz="2400" kern="1200" dirty="0" smtClean="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742950" indent="-285750" algn="l" defTabSz="914400" rtl="0" eaLnBrk="1" fontAlgn="base" latinLnBrk="0" hangingPunct="1">
        <a:spcBef>
          <a:spcPct val="20000"/>
        </a:spcBef>
        <a:spcAft>
          <a:spcPct val="20000"/>
        </a:spcAft>
        <a:buClr>
          <a:schemeClr val="accent1"/>
        </a:buClr>
        <a:buSzPct val="100000"/>
        <a:buFont typeface="Symbol" pitchFamily="18" charset="2"/>
        <a:buChar char="-"/>
        <a:tabLst>
          <a:tab pos="266700" algn="l"/>
          <a:tab pos="631825" algn="l"/>
          <a:tab pos="981075" algn="l"/>
        </a:tabLst>
        <a:defRPr lang="de-DE" sz="2000" kern="1200" dirty="0" smtClean="0"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1143000" indent="-228600" algn="l" defTabSz="914400" rtl="0" eaLnBrk="1" fontAlgn="base" latinLnBrk="0" hangingPunct="1">
        <a:spcBef>
          <a:spcPct val="20000"/>
        </a:spcBef>
        <a:spcAft>
          <a:spcPct val="20000"/>
        </a:spcAft>
        <a:buClr>
          <a:schemeClr val="accent3"/>
        </a:buClr>
        <a:buSzPct val="100000"/>
        <a:buFont typeface="Symbol" pitchFamily="18" charset="2"/>
        <a:buChar char="-"/>
        <a:tabLst>
          <a:tab pos="266700" algn="l"/>
          <a:tab pos="631825" algn="l"/>
          <a:tab pos="981075" algn="l"/>
        </a:tabLst>
        <a:defRPr lang="de-DE" sz="2000" kern="1200" dirty="0" smtClean="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1600200" indent="-228600" algn="l" defTabSz="914400" rtl="0" eaLnBrk="1" fontAlgn="base" latinLnBrk="0" hangingPunct="1">
        <a:spcBef>
          <a:spcPct val="20000"/>
        </a:spcBef>
        <a:spcAft>
          <a:spcPct val="20000"/>
        </a:spcAft>
        <a:buClr>
          <a:schemeClr val="tx1"/>
        </a:buClr>
        <a:buFont typeface="Arial" pitchFamily="34" charset="0"/>
        <a:buChar char="–"/>
        <a:tabLst>
          <a:tab pos="266700" algn="l"/>
          <a:tab pos="631825" algn="l"/>
          <a:tab pos="981075" algn="l"/>
        </a:tabLst>
        <a:defRPr lang="de-DE" sz="1600" kern="1200" dirty="0" smtClean="0"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2057400" indent="-228600" algn="l" defTabSz="914400" rtl="0" eaLnBrk="1" fontAlgn="base" latinLnBrk="0" hangingPunct="1">
        <a:spcBef>
          <a:spcPct val="20000"/>
        </a:spcBef>
        <a:spcAft>
          <a:spcPct val="20000"/>
        </a:spcAft>
        <a:buClr>
          <a:schemeClr val="tx1"/>
        </a:buClr>
        <a:buFont typeface="Symbol" pitchFamily="18" charset="2"/>
        <a:buChar char="-"/>
        <a:tabLst>
          <a:tab pos="266700" algn="l"/>
          <a:tab pos="631825" algn="l"/>
          <a:tab pos="981075" algn="l"/>
        </a:tabLst>
        <a:defRPr lang="de-DE" sz="1600" kern="1200" dirty="0" smtClean="0">
          <a:solidFill>
            <a:schemeClr val="tx1"/>
          </a:solidFill>
          <a:latin typeface="+mn-lt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Clr>
          <a:schemeClr val="tx1"/>
        </a:buClr>
        <a:buFont typeface="Arial" pitchFamily="34" charset="0"/>
        <a:buChar char="•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Clr>
          <a:schemeClr val="tx1"/>
        </a:buClr>
        <a:buFont typeface="Arial" pitchFamily="34" charset="0"/>
        <a:buChar char="•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Clr>
          <a:schemeClr val="tx1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3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6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39998" y="4365104"/>
            <a:ext cx="6766113" cy="1418472"/>
          </a:xfrm>
        </p:spPr>
        <p:txBody>
          <a:bodyPr>
            <a:noAutofit/>
          </a:bodyPr>
          <a:lstStyle/>
          <a:p>
            <a:r>
              <a:rPr lang="en-US" sz="2400" dirty="0"/>
              <a:t>Biogas Potential of the Inocula Sewage Sludge, Cow Manure, and Fermentation Residues </a:t>
            </a:r>
            <a:br>
              <a:rPr lang="en-US" dirty="0"/>
            </a:br>
            <a:r>
              <a:rPr lang="en-US" sz="2000" dirty="0"/>
              <a:t>– Investigation of Varying Pre-Treatment and Process Options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540000" y="671160"/>
            <a:ext cx="4292109" cy="957640"/>
          </a:xfrm>
        </p:spPr>
        <p:txBody>
          <a:bodyPr>
            <a:normAutofit lnSpcReduction="10000"/>
          </a:bodyPr>
          <a:lstStyle/>
          <a:p>
            <a:pPr lvl="0">
              <a:lnSpc>
                <a:spcPct val="120000"/>
              </a:lnSpc>
            </a:pPr>
            <a:r>
              <a:rPr lang="en-US" dirty="0"/>
              <a:t>Bachelor Thesis</a:t>
            </a:r>
          </a:p>
          <a:p>
            <a:pPr lvl="0">
              <a:lnSpc>
                <a:spcPct val="120000"/>
              </a:lnSpc>
            </a:pPr>
            <a:r>
              <a:rPr lang="en-US" dirty="0"/>
              <a:t>Final Presentation</a:t>
            </a:r>
          </a:p>
          <a:p>
            <a:pPr lvl="0">
              <a:lnSpc>
                <a:spcPct val="120000"/>
              </a:lnSpc>
            </a:pPr>
            <a:r>
              <a:rPr lang="en-US" dirty="0"/>
              <a:t>31</a:t>
            </a:r>
            <a:r>
              <a:rPr lang="en-US" baseline="30000" dirty="0"/>
              <a:t>st</a:t>
            </a:r>
            <a:r>
              <a:rPr lang="en-US" dirty="0"/>
              <a:t> July, 2018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Alexandra Erfort</a:t>
            </a:r>
          </a:p>
        </p:txBody>
      </p:sp>
    </p:spTree>
    <p:extLst>
      <p:ext uri="{BB962C8B-B14F-4D97-AF65-F5344CB8AC3E}">
        <p14:creationId xmlns:p14="http://schemas.microsoft.com/office/powerpoint/2010/main" val="294956661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F8D955-0308-6B45-A93C-55D8D69384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ults – Overall Comparison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7E78CCBA-ED9E-AE47-A426-4E3C923D63C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95215059"/>
              </p:ext>
            </p:extLst>
          </p:nvPr>
        </p:nvGraphicFramePr>
        <p:xfrm>
          <a:off x="251520" y="980728"/>
          <a:ext cx="8280920" cy="5400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9DCB8235-ED09-B049-A932-23B254E783F5}"/>
              </a:ext>
            </a:extLst>
          </p:cNvPr>
          <p:cNvSpPr txBox="1"/>
          <p:nvPr/>
        </p:nvSpPr>
        <p:spPr>
          <a:xfrm>
            <a:off x="510369" y="6453336"/>
            <a:ext cx="501488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chemeClr val="bg2">
                    <a:lumMod val="25000"/>
                  </a:schemeClr>
                </a:solidFill>
              </a:rPr>
              <a:t>Motivation - Objectives - Hypotheses - Methods  - </a:t>
            </a:r>
            <a:r>
              <a:rPr lang="en-US" sz="1100" b="1" dirty="0">
                <a:solidFill>
                  <a:schemeClr val="bg2">
                    <a:lumMod val="25000"/>
                  </a:schemeClr>
                </a:solidFill>
              </a:rPr>
              <a:t>Results</a:t>
            </a:r>
            <a:r>
              <a:rPr lang="en-US" sz="1100" dirty="0">
                <a:solidFill>
                  <a:schemeClr val="bg2">
                    <a:lumMod val="25000"/>
                  </a:schemeClr>
                </a:solidFill>
              </a:rPr>
              <a:t> - Discussion - Conclusion</a:t>
            </a:r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27769204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EC30D7-1834-1A45-B039-DCDA91A9CD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scussion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5594193A-D416-2B44-A366-5FDC9ABD8738}"/>
              </a:ext>
            </a:extLst>
          </p:cNvPr>
          <p:cNvSpPr txBox="1">
            <a:spLocks/>
          </p:cNvSpPr>
          <p:nvPr/>
        </p:nvSpPr>
        <p:spPr>
          <a:xfrm>
            <a:off x="277200" y="1004400"/>
            <a:ext cx="8399256" cy="5234400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fontAlgn="base" latinLnBrk="0" hangingPunct="1">
              <a:spcBef>
                <a:spcPct val="20000"/>
              </a:spcBef>
              <a:spcAft>
                <a:spcPct val="20000"/>
              </a:spcAft>
              <a:buClr>
                <a:schemeClr val="accent6"/>
              </a:buClr>
              <a:buSzPct val="75000"/>
              <a:buFont typeface="Wingdings 3" pitchFamily="18" charset="2"/>
              <a:buChar char="u"/>
              <a:tabLst>
                <a:tab pos="266700" algn="l"/>
                <a:tab pos="631825" algn="l"/>
                <a:tab pos="981075" algn="l"/>
              </a:tabLst>
              <a:defRPr lang="de-DE" sz="240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742950" indent="-285750" algn="l" defTabSz="914400" rtl="0" eaLnBrk="1" fontAlgn="base" latinLnBrk="0" hangingPunct="1">
              <a:spcBef>
                <a:spcPct val="20000"/>
              </a:spcBef>
              <a:spcAft>
                <a:spcPct val="20000"/>
              </a:spcAft>
              <a:buClr>
                <a:schemeClr val="accent1"/>
              </a:buClr>
              <a:buSzPct val="100000"/>
              <a:buFont typeface="Symbol" pitchFamily="18" charset="2"/>
              <a:buChar char="-"/>
              <a:tabLst>
                <a:tab pos="266700" algn="l"/>
                <a:tab pos="631825" algn="l"/>
                <a:tab pos="981075" algn="l"/>
              </a:tabLst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1143000" indent="-228600" algn="l" defTabSz="914400" rtl="0" eaLnBrk="1" fontAlgn="base" latinLnBrk="0" hangingPunct="1">
              <a:spcBef>
                <a:spcPct val="20000"/>
              </a:spcBef>
              <a:spcAft>
                <a:spcPct val="20000"/>
              </a:spcAft>
              <a:buClr>
                <a:schemeClr val="accent3"/>
              </a:buClr>
              <a:buSzPct val="100000"/>
              <a:buFont typeface="Symbol" pitchFamily="18" charset="2"/>
              <a:buChar char="-"/>
              <a:tabLst>
                <a:tab pos="266700" algn="l"/>
                <a:tab pos="631825" algn="l"/>
                <a:tab pos="981075" algn="l"/>
              </a:tabLst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600200" indent="-228600" algn="l" defTabSz="914400" rtl="0" eaLnBrk="1" fontAlgn="base" latinLnBrk="0" hangingPunct="1">
              <a:spcBef>
                <a:spcPct val="20000"/>
              </a:spcBef>
              <a:spcAft>
                <a:spcPct val="20000"/>
              </a:spcAft>
              <a:buClr>
                <a:schemeClr val="tx1"/>
              </a:buClr>
              <a:buFont typeface="Arial" pitchFamily="34" charset="0"/>
              <a:buChar char="–"/>
              <a:tabLst>
                <a:tab pos="266700" algn="l"/>
                <a:tab pos="631825" algn="l"/>
                <a:tab pos="981075" algn="l"/>
              </a:tabLst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2057400" indent="-228600" algn="l" defTabSz="914400" rtl="0" eaLnBrk="1" fontAlgn="base" latinLnBrk="0" hangingPunct="1">
              <a:spcBef>
                <a:spcPct val="20000"/>
              </a:spcBef>
              <a:spcAft>
                <a:spcPct val="20000"/>
              </a:spcAft>
              <a:buClr>
                <a:schemeClr val="tx1"/>
              </a:buClr>
              <a:buFont typeface="Symbol" pitchFamily="18" charset="2"/>
              <a:buChar char="-"/>
              <a:tabLst>
                <a:tab pos="266700" algn="l"/>
                <a:tab pos="631825" algn="l"/>
                <a:tab pos="981075" algn="l"/>
              </a:tabLst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Clr>
                <a:schemeClr val="tx1"/>
              </a:buClr>
              <a:buFont typeface="Arial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Clr>
                <a:schemeClr val="tx1"/>
              </a:buClr>
              <a:buFont typeface="Arial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Clr>
                <a:schemeClr val="tx1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buFont typeface="+mj-lt"/>
              <a:buAutoNum type="arabicPeriod"/>
            </a:pPr>
            <a:r>
              <a:rPr lang="en-US" b="1" dirty="0"/>
              <a:t>Restricted Logistic Activity </a:t>
            </a:r>
          </a:p>
          <a:p>
            <a:pPr lvl="1">
              <a:buFont typeface="Wingdings" pitchFamily="2" charset="2"/>
              <a:buChar char="§"/>
            </a:pPr>
            <a:r>
              <a:rPr lang="en-US" sz="2200" dirty="0"/>
              <a:t>Restricted due to limited resources</a:t>
            </a:r>
            <a:endParaRPr lang="en-US" sz="1000" dirty="0"/>
          </a:p>
          <a:p>
            <a:pPr marL="457200" indent="-457200">
              <a:buFont typeface="+mj-lt"/>
              <a:buAutoNum type="arabicPeriod" startAt="2"/>
            </a:pPr>
            <a:r>
              <a:rPr lang="en-US" b="1" dirty="0"/>
              <a:t>Minimal Effect of Storage</a:t>
            </a:r>
            <a:r>
              <a:rPr lang="en-US" dirty="0"/>
              <a:t> </a:t>
            </a:r>
          </a:p>
          <a:p>
            <a:pPr lvl="1">
              <a:buFont typeface="Wingdings" pitchFamily="2" charset="2"/>
              <a:buChar char="§"/>
            </a:pPr>
            <a:r>
              <a:rPr lang="en-US" sz="2200" dirty="0"/>
              <a:t>High loss of potential during storage</a:t>
            </a:r>
            <a:endParaRPr lang="en-US" sz="1000" dirty="0"/>
          </a:p>
          <a:p>
            <a:pPr marL="457200" indent="-457200">
              <a:buFont typeface="+mj-lt"/>
              <a:buAutoNum type="arabicPeriod" startAt="3"/>
            </a:pPr>
            <a:r>
              <a:rPr lang="en-US" b="1" dirty="0"/>
              <a:t>Screening Increases Gas Yield</a:t>
            </a:r>
          </a:p>
          <a:p>
            <a:pPr lvl="1">
              <a:buFont typeface="Wingdings" pitchFamily="2" charset="2"/>
              <a:buChar char="§"/>
            </a:pPr>
            <a:r>
              <a:rPr lang="en-US" sz="2200" dirty="0"/>
              <a:t>Smaller particles more accessible 				          for microorganisms</a:t>
            </a:r>
            <a:endParaRPr lang="en-US" sz="1000" b="1" dirty="0"/>
          </a:p>
          <a:p>
            <a:pPr marL="457200" indent="-457200">
              <a:buFont typeface="+mj-lt"/>
              <a:buAutoNum type="arabicPeriod" startAt="4"/>
            </a:pPr>
            <a:r>
              <a:rPr lang="en-US" b="1" dirty="0"/>
              <a:t>Little Effect of Stirring</a:t>
            </a:r>
          </a:p>
          <a:p>
            <a:pPr lvl="1">
              <a:buFont typeface="Wingdings" pitchFamily="2" charset="2"/>
              <a:buChar char="§"/>
            </a:pPr>
            <a:r>
              <a:rPr lang="en-US" sz="2200" dirty="0"/>
              <a:t>Stirring of little amounts not 			            necessary to release ga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946209C-9642-A943-88B0-F0E366228C39}"/>
              </a:ext>
            </a:extLst>
          </p:cNvPr>
          <p:cNvPicPr>
            <a:picLocks noChangeAspect="1"/>
          </p:cNvPicPr>
          <p:nvPr/>
        </p:nvPicPr>
        <p:blipFill>
          <a:blip r:embed="rId2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5432463" y="1147908"/>
            <a:ext cx="624786" cy="534608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09EF1A45-227F-2D48-B9FC-D52EDE833E8E}"/>
              </a:ext>
            </a:extLst>
          </p:cNvPr>
          <p:cNvPicPr>
            <a:picLocks noChangeAspect="1"/>
          </p:cNvPicPr>
          <p:nvPr/>
        </p:nvPicPr>
        <p:blipFill>
          <a:blip r:embed="rId2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5472664" y="2168582"/>
            <a:ext cx="539496" cy="6304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56BB880-9531-B649-ADEC-F937D3D72251}"/>
              </a:ext>
            </a:extLst>
          </p:cNvPr>
          <p:cNvPicPr>
            <a:picLocks noChangeAspect="1"/>
          </p:cNvPicPr>
          <p:nvPr/>
        </p:nvPicPr>
        <p:blipFill>
          <a:blip r:embed="rId2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2664" y="3374565"/>
            <a:ext cx="539496" cy="63049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A2526A0-E6EA-A24E-B90C-24D23D2F5824}"/>
              </a:ext>
            </a:extLst>
          </p:cNvPr>
          <p:cNvPicPr>
            <a:picLocks noChangeAspect="1"/>
          </p:cNvPicPr>
          <p:nvPr/>
        </p:nvPicPr>
        <p:blipFill>
          <a:blip r:embed="rId2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2664" y="4814726"/>
            <a:ext cx="539496" cy="630498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1E0E27D7-C376-5541-96F9-652277B8D656}"/>
              </a:ext>
            </a:extLst>
          </p:cNvPr>
          <p:cNvSpPr txBox="1"/>
          <p:nvPr/>
        </p:nvSpPr>
        <p:spPr>
          <a:xfrm>
            <a:off x="510369" y="6453336"/>
            <a:ext cx="501488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chemeClr val="bg2">
                    <a:lumMod val="25000"/>
                  </a:schemeClr>
                </a:solidFill>
              </a:rPr>
              <a:t>Motivation - Objectives - Hypotheses - Methods  - Results - </a:t>
            </a:r>
            <a:r>
              <a:rPr lang="en-US" sz="1100" b="1" dirty="0">
                <a:solidFill>
                  <a:schemeClr val="bg2">
                    <a:lumMod val="25000"/>
                  </a:schemeClr>
                </a:solidFill>
              </a:rPr>
              <a:t>Discussion</a:t>
            </a:r>
            <a:r>
              <a:rPr lang="en-US" sz="1100" dirty="0">
                <a:solidFill>
                  <a:schemeClr val="bg2">
                    <a:lumMod val="25000"/>
                  </a:schemeClr>
                </a:solidFill>
              </a:rPr>
              <a:t> - Conclusion</a:t>
            </a:r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387814205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EC30D7-1834-1A45-B039-DCDA91A9CD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scussion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5594193A-D416-2B44-A366-5FDC9ABD8738}"/>
              </a:ext>
            </a:extLst>
          </p:cNvPr>
          <p:cNvSpPr txBox="1">
            <a:spLocks/>
          </p:cNvSpPr>
          <p:nvPr/>
        </p:nvSpPr>
        <p:spPr>
          <a:xfrm>
            <a:off x="277200" y="1004400"/>
            <a:ext cx="8399256" cy="5234400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fontAlgn="base" latinLnBrk="0" hangingPunct="1">
              <a:spcBef>
                <a:spcPct val="20000"/>
              </a:spcBef>
              <a:spcAft>
                <a:spcPct val="20000"/>
              </a:spcAft>
              <a:buClr>
                <a:schemeClr val="accent6"/>
              </a:buClr>
              <a:buSzPct val="75000"/>
              <a:buFont typeface="Wingdings 3" pitchFamily="18" charset="2"/>
              <a:buChar char="u"/>
              <a:tabLst>
                <a:tab pos="266700" algn="l"/>
                <a:tab pos="631825" algn="l"/>
                <a:tab pos="981075" algn="l"/>
              </a:tabLst>
              <a:defRPr lang="de-DE" sz="240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742950" indent="-285750" algn="l" defTabSz="914400" rtl="0" eaLnBrk="1" fontAlgn="base" latinLnBrk="0" hangingPunct="1">
              <a:spcBef>
                <a:spcPct val="20000"/>
              </a:spcBef>
              <a:spcAft>
                <a:spcPct val="20000"/>
              </a:spcAft>
              <a:buClr>
                <a:schemeClr val="accent1"/>
              </a:buClr>
              <a:buSzPct val="100000"/>
              <a:buFont typeface="Symbol" pitchFamily="18" charset="2"/>
              <a:buChar char="-"/>
              <a:tabLst>
                <a:tab pos="266700" algn="l"/>
                <a:tab pos="631825" algn="l"/>
                <a:tab pos="981075" algn="l"/>
              </a:tabLst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1143000" indent="-228600" algn="l" defTabSz="914400" rtl="0" eaLnBrk="1" fontAlgn="base" latinLnBrk="0" hangingPunct="1">
              <a:spcBef>
                <a:spcPct val="20000"/>
              </a:spcBef>
              <a:spcAft>
                <a:spcPct val="20000"/>
              </a:spcAft>
              <a:buClr>
                <a:schemeClr val="accent3"/>
              </a:buClr>
              <a:buSzPct val="100000"/>
              <a:buFont typeface="Symbol" pitchFamily="18" charset="2"/>
              <a:buChar char="-"/>
              <a:tabLst>
                <a:tab pos="266700" algn="l"/>
                <a:tab pos="631825" algn="l"/>
                <a:tab pos="981075" algn="l"/>
              </a:tabLst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600200" indent="-228600" algn="l" defTabSz="914400" rtl="0" eaLnBrk="1" fontAlgn="base" latinLnBrk="0" hangingPunct="1">
              <a:spcBef>
                <a:spcPct val="20000"/>
              </a:spcBef>
              <a:spcAft>
                <a:spcPct val="20000"/>
              </a:spcAft>
              <a:buClr>
                <a:schemeClr val="tx1"/>
              </a:buClr>
              <a:buFont typeface="Arial" pitchFamily="34" charset="0"/>
              <a:buChar char="–"/>
              <a:tabLst>
                <a:tab pos="266700" algn="l"/>
                <a:tab pos="631825" algn="l"/>
                <a:tab pos="981075" algn="l"/>
              </a:tabLst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2057400" indent="-228600" algn="l" defTabSz="914400" rtl="0" eaLnBrk="1" fontAlgn="base" latinLnBrk="0" hangingPunct="1">
              <a:spcBef>
                <a:spcPct val="20000"/>
              </a:spcBef>
              <a:spcAft>
                <a:spcPct val="20000"/>
              </a:spcAft>
              <a:buClr>
                <a:schemeClr val="tx1"/>
              </a:buClr>
              <a:buFont typeface="Symbol" pitchFamily="18" charset="2"/>
              <a:buChar char="-"/>
              <a:tabLst>
                <a:tab pos="266700" algn="l"/>
                <a:tab pos="631825" algn="l"/>
                <a:tab pos="981075" algn="l"/>
              </a:tabLst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Clr>
                <a:schemeClr val="tx1"/>
              </a:buClr>
              <a:buFont typeface="Arial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Clr>
                <a:schemeClr val="tx1"/>
              </a:buClr>
              <a:buFont typeface="Arial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Clr>
                <a:schemeClr val="tx1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Temperature fluctuations cause simulated biogas volume</a:t>
            </a:r>
          </a:p>
          <a:p>
            <a:r>
              <a:rPr lang="en-US" dirty="0"/>
              <a:t>Continuous stirring and changes in temperature might inhibit microorganisms </a:t>
            </a:r>
            <a:r>
              <a:rPr lang="en-US" sz="1000" dirty="0"/>
              <a:t>[7]</a:t>
            </a:r>
          </a:p>
          <a:p>
            <a:r>
              <a:rPr lang="en-US" dirty="0"/>
              <a:t>Observations of produced volume and organic dry substance and C/N ratios do not show correlations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E0E27D7-C376-5541-96F9-652277B8D656}"/>
              </a:ext>
            </a:extLst>
          </p:cNvPr>
          <p:cNvSpPr txBox="1"/>
          <p:nvPr/>
        </p:nvSpPr>
        <p:spPr>
          <a:xfrm>
            <a:off x="510369" y="6453336"/>
            <a:ext cx="501488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chemeClr val="bg2">
                    <a:lumMod val="25000"/>
                  </a:schemeClr>
                </a:solidFill>
              </a:rPr>
              <a:t>Motivation - Objectives - Hypotheses - Methods  - Results - </a:t>
            </a:r>
            <a:r>
              <a:rPr lang="en-US" sz="1100" b="1" dirty="0">
                <a:solidFill>
                  <a:schemeClr val="bg2">
                    <a:lumMod val="25000"/>
                  </a:schemeClr>
                </a:solidFill>
              </a:rPr>
              <a:t>Discussion</a:t>
            </a:r>
            <a:r>
              <a:rPr lang="en-US" sz="1100" dirty="0">
                <a:solidFill>
                  <a:schemeClr val="bg2">
                    <a:lumMod val="25000"/>
                  </a:schemeClr>
                </a:solidFill>
              </a:rPr>
              <a:t> - Conclusion</a:t>
            </a:r>
            <a:endParaRPr lang="en-US" sz="11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0ED3BE4-1A02-F746-B4F4-35C57DA55E2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5043" t="8965" r="10913"/>
          <a:stretch/>
        </p:blipFill>
        <p:spPr>
          <a:xfrm>
            <a:off x="4909469" y="3356992"/>
            <a:ext cx="3334939" cy="27092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63242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15EF1B-622A-E749-999D-773F0CD3A2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scussion – Practicability for Vietnam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7E15528-0429-E848-8614-765E8581B521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dirty="0"/>
              <a:t>Laboratory provides different conditions than present on site</a:t>
            </a:r>
          </a:p>
          <a:p>
            <a:r>
              <a:rPr lang="en-US" dirty="0"/>
              <a:t>No easy storage without sacrificing big percentage of biogas potential</a:t>
            </a:r>
          </a:p>
          <a:p>
            <a:r>
              <a:rPr lang="en-US" dirty="0"/>
              <a:t>Screening cow manure increases biogas potential significantly</a:t>
            </a:r>
          </a:p>
          <a:p>
            <a:r>
              <a:rPr lang="en-US" dirty="0"/>
              <a:t>Due to larger scale in biogas plant substrates must be mixed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7F2474B-F530-A642-8607-62FF50295185}"/>
              </a:ext>
            </a:extLst>
          </p:cNvPr>
          <p:cNvSpPr txBox="1"/>
          <p:nvPr/>
        </p:nvSpPr>
        <p:spPr>
          <a:xfrm>
            <a:off x="510369" y="6453336"/>
            <a:ext cx="501488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chemeClr val="bg2">
                    <a:lumMod val="25000"/>
                  </a:schemeClr>
                </a:solidFill>
              </a:rPr>
              <a:t>Motivation - Objectives - Hypotheses - Methods  - Results - </a:t>
            </a:r>
            <a:r>
              <a:rPr lang="en-US" sz="1100" b="1" dirty="0">
                <a:solidFill>
                  <a:schemeClr val="bg2">
                    <a:lumMod val="25000"/>
                  </a:schemeClr>
                </a:solidFill>
              </a:rPr>
              <a:t>Discussion</a:t>
            </a:r>
            <a:r>
              <a:rPr lang="en-US" sz="1100" dirty="0">
                <a:solidFill>
                  <a:schemeClr val="bg2">
                    <a:lumMod val="25000"/>
                  </a:schemeClr>
                </a:solidFill>
              </a:rPr>
              <a:t> - Conclusion</a:t>
            </a:r>
            <a:endParaRPr lang="en-US" sz="110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A4F4F2D-2EC6-AB45-8736-4B957E3C618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88774" y="4416348"/>
            <a:ext cx="863352" cy="86335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2FE1654-0257-4A4B-ACDD-CEB9DAE84CB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5400000">
            <a:off x="2460452" y="4337825"/>
            <a:ext cx="1020398" cy="1020398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7F2F63E-19B0-9247-ADDE-44080200D4E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889176" y="4356975"/>
            <a:ext cx="856837" cy="856837"/>
          </a:xfrm>
          <a:prstGeom prst="rect">
            <a:avLst/>
          </a:prstGeom>
        </p:spPr>
      </p:pic>
      <p:sp>
        <p:nvSpPr>
          <p:cNvPr id="14" name="Right Arrow 13">
            <a:extLst>
              <a:ext uri="{FF2B5EF4-FFF2-40B4-BE49-F238E27FC236}">
                <a16:creationId xmlns:a16="http://schemas.microsoft.com/office/drawing/2014/main" id="{9911626A-BDDC-7F49-8EC5-AD4723E91E11}"/>
              </a:ext>
            </a:extLst>
          </p:cNvPr>
          <p:cNvSpPr/>
          <p:nvPr/>
        </p:nvSpPr>
        <p:spPr>
          <a:xfrm>
            <a:off x="5154339" y="4661339"/>
            <a:ext cx="954011" cy="455472"/>
          </a:xfrm>
          <a:prstGeom prst="rightArrow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&quot;No&quot; Symbol 14">
            <a:extLst>
              <a:ext uri="{FF2B5EF4-FFF2-40B4-BE49-F238E27FC236}">
                <a16:creationId xmlns:a16="http://schemas.microsoft.com/office/drawing/2014/main" id="{8D3E89C9-520E-5345-899B-F99DA931CC8B}"/>
              </a:ext>
            </a:extLst>
          </p:cNvPr>
          <p:cNvSpPr>
            <a:spLocks noChangeAspect="1"/>
          </p:cNvSpPr>
          <p:nvPr/>
        </p:nvSpPr>
        <p:spPr>
          <a:xfrm>
            <a:off x="879233" y="4106807"/>
            <a:ext cx="1482433" cy="1482433"/>
          </a:xfrm>
          <a:prstGeom prst="noSmoking">
            <a:avLst>
              <a:gd name="adj" fmla="val 10898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DF88AE89-7CBA-734F-8A80-6259419E471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16216" y="4077072"/>
            <a:ext cx="1512168" cy="1512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070188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15EF1B-622A-E749-999D-773F0CD3A2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7E15528-0429-E848-8614-765E8581B521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b="1" dirty="0"/>
              <a:t>Material should be fresh, have small particles, and be stirred regularly for highest biogas potential.</a:t>
            </a:r>
          </a:p>
          <a:p>
            <a:pPr marL="0" indent="0">
              <a:buNone/>
            </a:pPr>
            <a:endParaRPr lang="en-US" b="1" dirty="0"/>
          </a:p>
          <a:p>
            <a:pPr marL="0" indent="0">
              <a:buNone/>
            </a:pPr>
            <a:endParaRPr lang="en-US" b="1" dirty="0"/>
          </a:p>
          <a:p>
            <a:pPr marL="0" indent="0">
              <a:buNone/>
            </a:pPr>
            <a:r>
              <a:rPr lang="en-US" u="sng" dirty="0"/>
              <a:t>Further Research Demand:</a:t>
            </a:r>
            <a:endParaRPr lang="en-US" b="1" u="sng" dirty="0"/>
          </a:p>
          <a:p>
            <a:r>
              <a:rPr lang="en-US" dirty="0"/>
              <a:t>Correlation between biogas yield and organic substance degradation and C/N ratios</a:t>
            </a:r>
          </a:p>
          <a:p>
            <a:r>
              <a:rPr lang="en-US" dirty="0"/>
              <a:t>Effects of temperature fluctuations on biogas yield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E97165A-E195-CE4F-BB15-DF2F06231F3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36296" y="4653136"/>
            <a:ext cx="1296144" cy="1296144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E2369E16-00CF-5B41-BD55-8C75D2E59F30}"/>
              </a:ext>
            </a:extLst>
          </p:cNvPr>
          <p:cNvSpPr txBox="1"/>
          <p:nvPr/>
        </p:nvSpPr>
        <p:spPr>
          <a:xfrm>
            <a:off x="510369" y="6453336"/>
            <a:ext cx="501488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chemeClr val="bg2">
                    <a:lumMod val="25000"/>
                  </a:schemeClr>
                </a:solidFill>
              </a:rPr>
              <a:t>Motivation - Objectives - Hypotheses - Methods  - Results - Discussion - </a:t>
            </a:r>
            <a:r>
              <a:rPr lang="en-US" sz="1100" b="1" dirty="0">
                <a:solidFill>
                  <a:schemeClr val="bg2">
                    <a:lumMod val="25000"/>
                  </a:schemeClr>
                </a:solidFill>
              </a:rPr>
              <a:t>Conclusion</a:t>
            </a:r>
            <a:endParaRPr lang="en-US" sz="1100" b="1" dirty="0"/>
          </a:p>
        </p:txBody>
      </p:sp>
    </p:spTree>
    <p:extLst>
      <p:ext uri="{BB962C8B-B14F-4D97-AF65-F5344CB8AC3E}">
        <p14:creationId xmlns:p14="http://schemas.microsoft.com/office/powerpoint/2010/main" val="151671474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FCB9A2-0749-2242-A20D-D531FE4F01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4ABF843A-9300-AB4B-9BA0-D94250673BB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69998869"/>
              </p:ext>
            </p:extLst>
          </p:nvPr>
        </p:nvGraphicFramePr>
        <p:xfrm>
          <a:off x="611560" y="1052736"/>
          <a:ext cx="7926140" cy="4852845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941363">
                  <a:extLst>
                    <a:ext uri="{9D8B030D-6E8A-4147-A177-3AD203B41FA5}">
                      <a16:colId xmlns:a16="http://schemas.microsoft.com/office/drawing/2014/main" val="2010402378"/>
                    </a:ext>
                  </a:extLst>
                </a:gridCol>
                <a:gridCol w="6984777">
                  <a:extLst>
                    <a:ext uri="{9D8B030D-6E8A-4147-A177-3AD203B41FA5}">
                      <a16:colId xmlns:a16="http://schemas.microsoft.com/office/drawing/2014/main" val="7064795"/>
                    </a:ext>
                  </a:extLst>
                </a:gridCol>
              </a:tblGrid>
              <a:tr h="792088">
                <a:tc>
                  <a:txBody>
                    <a:bodyPr/>
                    <a:lstStyle/>
                    <a:p>
                      <a:r>
                        <a:rPr lang="de-DE" sz="1800" b="0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[1]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800" b="0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Helmich, U.: Logistisches Wachstum. Helmichs Biologie-Lexikon. 2016. </a:t>
                      </a:r>
                      <a:r>
                        <a:rPr lang="de-DE" sz="1800" b="0" kern="120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[http://www.u-helmich.de/bio/lexikon/L/logistisches_Wachstum.html], Access: 24.05.2018. </a:t>
                      </a:r>
                      <a:endParaRPr lang="de-DE" sz="1800" b="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15828635"/>
                  </a:ext>
                </a:extLst>
              </a:tr>
              <a:tr h="833224">
                <a:tc>
                  <a:txBody>
                    <a:bodyPr/>
                    <a:lstStyle/>
                    <a:p>
                      <a:r>
                        <a:rPr lang="de-DE" sz="1800" b="0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[2]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rowne, J.D.; Gilkinson, S.R.; Frost, J.P.: Biosystems Engineering: The effects of storage time and temperature on biogas production from dairy cow slurry. Vol. 129, Amsterdam: Elsevier, 2014</a:t>
                      </a:r>
                      <a:r>
                        <a:rPr lang="en-US" sz="1800" dirty="0">
                          <a:effectLst/>
                        </a:rPr>
                        <a:t> .</a:t>
                      </a:r>
                      <a:endParaRPr lang="de-DE" sz="1800" b="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64010383"/>
                  </a:ext>
                </a:extLst>
              </a:tr>
              <a:tr h="864096">
                <a:tc>
                  <a:txBody>
                    <a:bodyPr/>
                    <a:lstStyle/>
                    <a:p>
                      <a:r>
                        <a:rPr lang="de-DE" sz="1800" b="0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[3]</a:t>
                      </a:r>
                      <a:endParaRPr lang="x-none" sz="1800" b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shandete, A.; Björnsson, L.; Kivaisi, A.K.; Rubindamayugi, M.S.T., Mattiasson, B.: Renewable Energy: Effect of particle size on biogas yield from sisal fibre waste. Vol. 31, Amsterdam: Elsevier, 2006.</a:t>
                      </a:r>
                      <a:r>
                        <a:rPr lang="en-US" sz="1800" dirty="0">
                          <a:effectLst/>
                        </a:rPr>
                        <a:t> </a:t>
                      </a:r>
                      <a:endParaRPr lang="x-none" sz="1800" b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99052962"/>
                  </a:ext>
                </a:extLst>
              </a:tr>
              <a:tr h="920925">
                <a:tc>
                  <a:txBody>
                    <a:bodyPr/>
                    <a:lstStyle/>
                    <a:p>
                      <a:r>
                        <a:rPr lang="de-DE" sz="1800" b="0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[4]</a:t>
                      </a:r>
                      <a:endParaRPr lang="x-none" sz="1800" b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liche, R.; Lebuhn, M.: Schaum in Biogasanlagen. Biogas Forum Bayern, 2017. [http://www.biogas-forum-bayern.de/media/files</a:t>
                      </a:r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0003/schaum-in-biogasanlagen.pdf], Access: 09.05.2018.</a:t>
                      </a:r>
                      <a:r>
                        <a:rPr lang="en-US" sz="1800" dirty="0">
                          <a:effectLst/>
                        </a:rPr>
                        <a:t> </a:t>
                      </a:r>
                      <a:endParaRPr lang="x-none" sz="1800" b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28207921"/>
                  </a:ext>
                </a:extLst>
              </a:tr>
              <a:tr h="920925">
                <a:tc>
                  <a:txBody>
                    <a:bodyPr/>
                    <a:lstStyle/>
                    <a:p>
                      <a:r>
                        <a:rPr lang="de-DE" sz="1800" b="0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[5]</a:t>
                      </a:r>
                      <a:endParaRPr lang="x-none" sz="1800" b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8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chieder, D.; Gronauer, A.; Lebuhn, M.; Bayer, K.; Beck, J.; Hiepp, G.; Binder, S.: Prozessmodell Biogas. Biogas Forum Bayern, 2010. [http://www.biogas-forum-bayern.de/media/files/0001/Prozessmodell-Biogas.pdf] Access: 24.05.2018.</a:t>
                      </a:r>
                      <a:r>
                        <a:rPr lang="en-US" sz="1800" b="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endParaRPr lang="x-none" sz="1800" b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085227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1133909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FCB9A2-0749-2242-A20D-D531FE4F01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6B061A59-9477-1A4D-AA2A-150D965CCBB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17284737"/>
              </p:ext>
            </p:extLst>
          </p:nvPr>
        </p:nvGraphicFramePr>
        <p:xfrm>
          <a:off x="611560" y="1052736"/>
          <a:ext cx="7926139" cy="182880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013371">
                  <a:extLst>
                    <a:ext uri="{9D8B030D-6E8A-4147-A177-3AD203B41FA5}">
                      <a16:colId xmlns:a16="http://schemas.microsoft.com/office/drawing/2014/main" val="416067528"/>
                    </a:ext>
                  </a:extLst>
                </a:gridCol>
                <a:gridCol w="6912768">
                  <a:extLst>
                    <a:ext uri="{9D8B030D-6E8A-4147-A177-3AD203B41FA5}">
                      <a16:colId xmlns:a16="http://schemas.microsoft.com/office/drawing/2014/main" val="3742969238"/>
                    </a:ext>
                  </a:extLst>
                </a:gridCol>
              </a:tblGrid>
              <a:tr h="622955">
                <a:tc>
                  <a:txBody>
                    <a:bodyPr/>
                    <a:lstStyle/>
                    <a:p>
                      <a:r>
                        <a:rPr lang="de-DE" sz="1800" b="0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[6]</a:t>
                      </a:r>
                      <a:endParaRPr lang="x-none" sz="1800" b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Klußmann, H.: Pump- und Rührtechnik in landwirtschaftlichen Biogasanlagen. </a:t>
                      </a:r>
                      <a:r>
                        <a:rPr lang="de-DE" sz="18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.s. [http://www.bfl-online.de/media/pump_und_%20ruehrtechnik_in_%20biogasanlagen.pdf], Access: 09.05.2018.</a:t>
                      </a:r>
                      <a:r>
                        <a:rPr lang="en-US" sz="1800" b="0" dirty="0">
                          <a:effectLst/>
                        </a:rPr>
                        <a:t> </a:t>
                      </a:r>
                      <a:endParaRPr lang="en-US" sz="1800" b="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91894231"/>
                  </a:ext>
                </a:extLst>
              </a:tr>
              <a:tr h="622955">
                <a:tc>
                  <a:txBody>
                    <a:bodyPr/>
                    <a:lstStyle/>
                    <a:p>
                      <a:r>
                        <a:rPr lang="de-DE" sz="1800" b="0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[7]</a:t>
                      </a:r>
                      <a:endParaRPr lang="x-none" sz="1800" b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Spahr, M.: Personal communication. Herbst Umwelttechnik GmbH, 27.06.2018.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93600991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97D237B2-E40D-AD42-83D6-344691E26010}"/>
              </a:ext>
            </a:extLst>
          </p:cNvPr>
          <p:cNvSpPr txBox="1"/>
          <p:nvPr/>
        </p:nvSpPr>
        <p:spPr>
          <a:xfrm>
            <a:off x="611559" y="2852936"/>
            <a:ext cx="792613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2">
                    <a:lumMod val="1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mage source from slides </a:t>
            </a:r>
            <a:r>
              <a:rPr lang="en-US" dirty="0"/>
              <a:t>3, 4, 5, 11, 13, 14, 17, 18, 20, and 21:</a:t>
            </a:r>
            <a:r>
              <a:rPr lang="en-US" dirty="0">
                <a:solidFill>
                  <a:schemeClr val="bg2">
                    <a:lumMod val="1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flaticon.com</a:t>
            </a:r>
          </a:p>
        </p:txBody>
      </p:sp>
    </p:spTree>
    <p:extLst>
      <p:ext uri="{BB962C8B-B14F-4D97-AF65-F5344CB8AC3E}">
        <p14:creationId xmlns:p14="http://schemas.microsoft.com/office/powerpoint/2010/main" val="213563742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25F77E7-E4AD-A34A-96B0-64893CA04683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>
            <a:normAutofit/>
          </a:bodyPr>
          <a:lstStyle/>
          <a:p>
            <a:pPr marL="0" indent="0" algn="ctr">
              <a:buNone/>
            </a:pPr>
            <a:endParaRPr lang="en-US" sz="3600" b="1" dirty="0"/>
          </a:p>
          <a:p>
            <a:pPr marL="0" indent="0" algn="ctr">
              <a:buNone/>
            </a:pPr>
            <a:r>
              <a:rPr lang="en-US" sz="3600" b="1" dirty="0"/>
              <a:t>Thank you for your attention!</a:t>
            </a:r>
          </a:p>
          <a:p>
            <a:pPr marL="0" indent="0" algn="ctr">
              <a:buNone/>
            </a:pPr>
            <a:r>
              <a:rPr lang="en-US" sz="3600" b="1" dirty="0"/>
              <a:t>Any questions?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7A4646E-2358-0C4B-89C0-F3756D91BA7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80284" y="3573016"/>
            <a:ext cx="1583432" cy="1583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240056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BB79FC-3C48-1C4B-8DEF-049DC7A79B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ditional Slides – Volume Calculation 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91ECADF3-1D81-DF4E-BE08-54D67DE6DFF0}"/>
                  </a:ext>
                </a:extLst>
              </p:cNvPr>
              <p:cNvSpPr>
                <a:spLocks noGrp="1"/>
              </p:cNvSpPr>
              <p:nvPr>
                <p:ph sz="quarter" idx="10"/>
              </p:nvPr>
            </p:nvSpPr>
            <p:spPr/>
            <p:txBody>
              <a:bodyPr/>
              <a:lstStyle/>
              <a:p>
                <a:pPr marL="0" indent="0">
                  <a:buNone/>
                </a:pPr>
                <a:endParaRPr lang="en-US" i="1" dirty="0">
                  <a:solidFill>
                    <a:schemeClr val="bg2">
                      <a:lumMod val="10000"/>
                    </a:schemeClr>
                  </a:solidFill>
                  <a:latin typeface="Cambria Math" panose="02040503050406030204" pitchFamily="18" charset="0"/>
                </a:endParaRPr>
              </a:p>
              <a:p>
                <a:pPr marL="0" indent="0">
                  <a:buNone/>
                </a:pPr>
                <a:endParaRPr lang="en-US" i="1" dirty="0">
                  <a:solidFill>
                    <a:schemeClr val="bg2">
                      <a:lumMod val="10000"/>
                    </a:schemeClr>
                  </a:solidFill>
                  <a:latin typeface="Cambria Math" panose="02040503050406030204" pitchFamily="18" charset="0"/>
                </a:endParaRP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i="1">
                              <a:solidFill>
                                <a:schemeClr val="bg2">
                                  <a:lumMod val="1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solidFill>
                                <a:schemeClr val="bg2">
                                  <a:lumMod val="1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en-US" i="1">
                              <a:solidFill>
                                <a:schemeClr val="bg2">
                                  <a:lumMod val="1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𝐵𝑖𝑜𝑔𝑎𝑠</m:t>
                          </m:r>
                        </m:sub>
                      </m:sSub>
                      <m:r>
                        <a:rPr lang="en-US">
                          <a:solidFill>
                            <a:schemeClr val="bg2">
                              <a:lumMod val="10000"/>
                            </a:schemeClr>
                          </a:solidFill>
                          <a:latin typeface="Cambria Math" panose="02040503050406030204" pitchFamily="18" charset="0"/>
                        </a:rPr>
                        <m:t>= </m:t>
                      </m:r>
                      <m:f>
                        <m:fPr>
                          <m:ctrlPr>
                            <a:rPr lang="en-US" i="1">
                              <a:solidFill>
                                <a:schemeClr val="bg2">
                                  <a:lumMod val="1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solidFill>
                                <a:schemeClr val="bg2">
                                  <a:lumMod val="1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∆</m:t>
                          </m:r>
                          <m:r>
                            <a:rPr lang="en-US" i="1">
                              <a:solidFill>
                                <a:schemeClr val="bg2">
                                  <a:lumMod val="1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𝑝</m:t>
                          </m:r>
                          <m:r>
                            <a:rPr lang="en-US">
                              <a:solidFill>
                                <a:schemeClr val="bg2">
                                  <a:lumMod val="1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 ⋅ </m:t>
                          </m:r>
                          <m:sSub>
                            <m:sSubPr>
                              <m:ctrlPr>
                                <a:rPr lang="en-US" i="1">
                                  <a:solidFill>
                                    <a:schemeClr val="bg2">
                                      <a:lumMod val="10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i="1">
                                  <a:solidFill>
                                    <a:schemeClr val="bg2">
                                      <a:lumMod val="10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en-US" i="1">
                                  <a:solidFill>
                                    <a:schemeClr val="bg2">
                                      <a:lumMod val="10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h𝑒𝑎𝑑</m:t>
                              </m:r>
                            </m:sub>
                          </m:sSub>
                          <m:r>
                            <a:rPr lang="en-US">
                              <a:solidFill>
                                <a:schemeClr val="bg2">
                                  <a:lumMod val="1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 ⋅</m:t>
                          </m:r>
                          <m:sSub>
                            <m:sSubPr>
                              <m:ctrlPr>
                                <a:rPr lang="en-US" i="1">
                                  <a:solidFill>
                                    <a:schemeClr val="bg2">
                                      <a:lumMod val="10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i="1">
                                  <a:solidFill>
                                    <a:schemeClr val="bg2">
                                      <a:lumMod val="10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en-US" i="1">
                                  <a:solidFill>
                                    <a:schemeClr val="bg2">
                                      <a:lumMod val="10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</m:sub>
                          </m:sSub>
                        </m:num>
                        <m:den>
                          <m:r>
                            <a:rPr lang="en-US" i="1">
                              <a:solidFill>
                                <a:schemeClr val="bg2">
                                  <a:lumMod val="1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𝑅</m:t>
                          </m:r>
                          <m:r>
                            <a:rPr lang="en-US">
                              <a:solidFill>
                                <a:schemeClr val="bg2">
                                  <a:lumMod val="1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 ⋅</m:t>
                          </m:r>
                          <m:r>
                            <a:rPr lang="en-US" i="1">
                              <a:solidFill>
                                <a:schemeClr val="bg2">
                                  <a:lumMod val="1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𝑇</m:t>
                          </m:r>
                        </m:den>
                      </m:f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91ECADF3-1D81-DF4E-BE08-54D67DE6DFF0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0"/>
              </p:nvPr>
            </p:nvSpPr>
            <p:spPr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85917D91-B43F-004B-8942-06C34EC69E7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95653832"/>
              </p:ext>
            </p:extLst>
          </p:nvPr>
        </p:nvGraphicFramePr>
        <p:xfrm>
          <a:off x="611560" y="4365104"/>
          <a:ext cx="6096000" cy="1737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19645">
                  <a:extLst>
                    <a:ext uri="{9D8B030D-6E8A-4147-A177-3AD203B41FA5}">
                      <a16:colId xmlns:a16="http://schemas.microsoft.com/office/drawing/2014/main" val="3364477202"/>
                    </a:ext>
                  </a:extLst>
                </a:gridCol>
                <a:gridCol w="5276355">
                  <a:extLst>
                    <a:ext uri="{9D8B030D-6E8A-4147-A177-3AD203B41FA5}">
                      <a16:colId xmlns:a16="http://schemas.microsoft.com/office/drawing/2014/main" val="143460793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b="0" dirty="0">
                          <a:solidFill>
                            <a:schemeClr val="tx1"/>
                          </a:solidFill>
                        </a:rPr>
                        <a:t>V</a:t>
                      </a:r>
                      <a:r>
                        <a:rPr lang="en-US" b="0" baseline="-25000" dirty="0">
                          <a:solidFill>
                            <a:schemeClr val="tx1"/>
                          </a:solidFill>
                        </a:rPr>
                        <a:t>Biogas</a:t>
                      </a:r>
                    </a:p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Δp</a:t>
                      </a:r>
                    </a:p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</a:t>
                      </a:r>
                      <a:r>
                        <a:rPr lang="en-US" sz="1800" b="0" baseline="-250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ead</a:t>
                      </a:r>
                      <a:endParaRPr lang="en-US" sz="18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</a:t>
                      </a:r>
                      <a:r>
                        <a:rPr lang="en-US" sz="1800" b="0" baseline="-250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</a:t>
                      </a:r>
                    </a:p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</a:t>
                      </a:r>
                    </a:p>
                    <a:p>
                      <a:r>
                        <a:rPr lang="en-US" sz="1800" b="0" baseline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</a:t>
                      </a:r>
                      <a:endParaRPr lang="en-US" b="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iogas volume</a:t>
                      </a:r>
                    </a:p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bsolute pressure difference</a:t>
                      </a:r>
                    </a:p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olume of the head space</a:t>
                      </a:r>
                    </a:p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olar volume</a:t>
                      </a:r>
                    </a:p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niversal gas constant</a:t>
                      </a:r>
                    </a:p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bsolute temperature</a:t>
                      </a:r>
                    </a:p>
                  </a:txBody>
                  <a:tcPr>
                    <a:lnL w="12700" cmpd="sng">
                      <a:noFill/>
                    </a:lnL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06364089"/>
                  </a:ext>
                </a:extLst>
              </a:tr>
            </a:tbl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7AA82170-6144-D842-A251-76971486139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92280" y="4869160"/>
            <a:ext cx="1080120" cy="1080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95508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BB79FC-3C48-1C4B-8DEF-049DC7A79B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ditional Slides – Limitat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1ECADF3-1D81-DF4E-BE08-54D67DE6DFF0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>
            <a:normAutofit/>
          </a:bodyPr>
          <a:lstStyle/>
          <a:p>
            <a:pPr>
              <a:buFont typeface="Wingdings" pitchFamily="2" charset="2"/>
              <a:buChar char="Ø"/>
            </a:pPr>
            <a:r>
              <a:rPr lang="en-US" altLang="de-DE" kern="0" dirty="0"/>
              <a:t>Magnetic Stirring Table </a:t>
            </a:r>
            <a:endParaRPr lang="en-US" altLang="de-DE" kern="0" dirty="0">
              <a:sym typeface="Wingdings" pitchFamily="2" charset="2"/>
            </a:endParaRPr>
          </a:p>
          <a:p>
            <a:pPr lvl="1">
              <a:buFont typeface="Wingdings" pitchFamily="2" charset="2"/>
              <a:buChar char="§"/>
            </a:pPr>
            <a:r>
              <a:rPr lang="en-US" altLang="de-DE" sz="2400" kern="0" dirty="0">
                <a:sym typeface="Wingdings" pitchFamily="2" charset="2"/>
              </a:rPr>
              <a:t> Limited to only six bottles simultaneously </a:t>
            </a:r>
          </a:p>
          <a:p>
            <a:pPr lvl="1">
              <a:buFont typeface="Wingdings" pitchFamily="2" charset="2"/>
              <a:buChar char="§"/>
            </a:pPr>
            <a:r>
              <a:rPr lang="en-US" altLang="de-DE" sz="2400" kern="0" dirty="0">
                <a:sym typeface="Wingdings" pitchFamily="2" charset="2"/>
              </a:rPr>
              <a:t> Space for only two tests, since at least triple determinations should be conducted</a:t>
            </a:r>
          </a:p>
          <a:p>
            <a:pPr>
              <a:buFont typeface="Wingdings" pitchFamily="2" charset="2"/>
              <a:buChar char="Ø"/>
            </a:pPr>
            <a:r>
              <a:rPr lang="en-US" altLang="de-DE" kern="0" dirty="0">
                <a:sym typeface="Wingdings" pitchFamily="2" charset="2"/>
              </a:rPr>
              <a:t>Maximum pressure for measuring heads</a:t>
            </a:r>
          </a:p>
          <a:p>
            <a:pPr lvl="1">
              <a:buFont typeface="Wingdings" pitchFamily="2" charset="2"/>
              <a:buChar char="§"/>
            </a:pPr>
            <a:r>
              <a:rPr lang="en-US" altLang="de-DE" sz="2400" kern="0" dirty="0">
                <a:sym typeface="Wingdings" pitchFamily="2" charset="2"/>
              </a:rPr>
              <a:t> Manual pressure release necessary</a:t>
            </a:r>
            <a:endParaRPr lang="en-US" altLang="de-DE" kern="0" dirty="0">
              <a:sym typeface="Wingdings" pitchFamily="2" charset="2"/>
            </a:endParaRPr>
          </a:p>
          <a:p>
            <a:pPr marL="0" indent="0">
              <a:buNone/>
            </a:pPr>
            <a:endParaRPr lang="en-US" i="1" dirty="0">
              <a:solidFill>
                <a:schemeClr val="bg2">
                  <a:lumMod val="10000"/>
                </a:schemeClr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6417EBF-46D5-9F4A-BDD3-B8EF77BEB49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5043" t="8965" r="10913"/>
          <a:stretch/>
        </p:blipFill>
        <p:spPr>
          <a:xfrm>
            <a:off x="5596740" y="3573016"/>
            <a:ext cx="3102287" cy="2520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687719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utline</a:t>
            </a:r>
          </a:p>
        </p:txBody>
      </p:sp>
      <p:sp>
        <p:nvSpPr>
          <p:cNvPr id="2" name="Inhaltsplatzhalter 1"/>
          <p:cNvSpPr>
            <a:spLocks noGrp="1"/>
          </p:cNvSpPr>
          <p:nvPr>
            <p:ph sz="quarter" idx="10"/>
          </p:nvPr>
        </p:nvSpPr>
        <p:spPr>
          <a:xfrm>
            <a:off x="611560" y="1004400"/>
            <a:ext cx="8255240" cy="5234400"/>
          </a:xfrm>
        </p:spPr>
        <p:txBody>
          <a:bodyPr>
            <a:normAutofit/>
          </a:bodyPr>
          <a:lstStyle/>
          <a:p>
            <a:pPr>
              <a:lnSpc>
                <a:spcPts val="4000"/>
              </a:lnSpc>
            </a:pPr>
            <a:r>
              <a:rPr lang="en-US" sz="2600" dirty="0"/>
              <a:t>Motivation</a:t>
            </a:r>
          </a:p>
          <a:p>
            <a:pPr>
              <a:lnSpc>
                <a:spcPts val="4000"/>
              </a:lnSpc>
            </a:pPr>
            <a:r>
              <a:rPr lang="en-US" sz="2600" dirty="0"/>
              <a:t>Objectives</a:t>
            </a:r>
          </a:p>
          <a:p>
            <a:pPr>
              <a:lnSpc>
                <a:spcPts val="4000"/>
              </a:lnSpc>
            </a:pPr>
            <a:r>
              <a:rPr lang="en-US" sz="2600" dirty="0"/>
              <a:t>Hypotheses</a:t>
            </a:r>
          </a:p>
          <a:p>
            <a:pPr>
              <a:lnSpc>
                <a:spcPts val="4000"/>
              </a:lnSpc>
            </a:pPr>
            <a:r>
              <a:rPr lang="en-US" sz="2600" dirty="0"/>
              <a:t>Methods</a:t>
            </a:r>
          </a:p>
          <a:p>
            <a:pPr>
              <a:lnSpc>
                <a:spcPts val="4000"/>
              </a:lnSpc>
            </a:pPr>
            <a:r>
              <a:rPr lang="en-US" sz="2600" dirty="0"/>
              <a:t>Results</a:t>
            </a:r>
          </a:p>
          <a:p>
            <a:pPr>
              <a:lnSpc>
                <a:spcPts val="4000"/>
              </a:lnSpc>
            </a:pPr>
            <a:r>
              <a:rPr lang="en-US" sz="2600" dirty="0"/>
              <a:t>Discussion</a:t>
            </a:r>
          </a:p>
          <a:p>
            <a:pPr>
              <a:lnSpc>
                <a:spcPts val="4000"/>
              </a:lnSpc>
            </a:pPr>
            <a:r>
              <a:rPr lang="en-US" sz="2600" dirty="0"/>
              <a:t>Conclusion</a:t>
            </a:r>
          </a:p>
        </p:txBody>
      </p:sp>
    </p:spTree>
    <p:extLst>
      <p:ext uri="{BB962C8B-B14F-4D97-AF65-F5344CB8AC3E}">
        <p14:creationId xmlns:p14="http://schemas.microsoft.com/office/powerpoint/2010/main" val="89291847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F8D955-0308-6B45-A93C-55D8D69384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ditional Slides – oDS and C/N Ratios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99C2F740-D7EB-CD4E-8D7A-DF4CBDCBBFC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38566756"/>
              </p:ext>
            </p:extLst>
          </p:nvPr>
        </p:nvGraphicFramePr>
        <p:xfrm>
          <a:off x="594361" y="1026370"/>
          <a:ext cx="7955276" cy="4398861"/>
        </p:xfrm>
        <a:graphic>
          <a:graphicData uri="http://schemas.openxmlformats.org/drawingml/2006/table">
            <a:tbl>
              <a:tblPr firstRow="1" firstCol="1" bandRow="1">
                <a:tableStyleId>{00A15C55-8517-42AA-B614-E9B94910E393}</a:tableStyleId>
              </a:tblPr>
              <a:tblGrid>
                <a:gridCol w="1673382">
                  <a:extLst>
                    <a:ext uri="{9D8B030D-6E8A-4147-A177-3AD203B41FA5}">
                      <a16:colId xmlns:a16="http://schemas.microsoft.com/office/drawing/2014/main" val="1662282598"/>
                    </a:ext>
                  </a:extLst>
                </a:gridCol>
                <a:gridCol w="1080120">
                  <a:extLst>
                    <a:ext uri="{9D8B030D-6E8A-4147-A177-3AD203B41FA5}">
                      <a16:colId xmlns:a16="http://schemas.microsoft.com/office/drawing/2014/main" val="2144906692"/>
                    </a:ext>
                  </a:extLst>
                </a:gridCol>
                <a:gridCol w="1080120">
                  <a:extLst>
                    <a:ext uri="{9D8B030D-6E8A-4147-A177-3AD203B41FA5}">
                      <a16:colId xmlns:a16="http://schemas.microsoft.com/office/drawing/2014/main" val="3094197382"/>
                    </a:ext>
                  </a:extLst>
                </a:gridCol>
                <a:gridCol w="1008111">
                  <a:extLst>
                    <a:ext uri="{9D8B030D-6E8A-4147-A177-3AD203B41FA5}">
                      <a16:colId xmlns:a16="http://schemas.microsoft.com/office/drawing/2014/main" val="3430900231"/>
                    </a:ext>
                  </a:extLst>
                </a:gridCol>
                <a:gridCol w="1080121">
                  <a:extLst>
                    <a:ext uri="{9D8B030D-6E8A-4147-A177-3AD203B41FA5}">
                      <a16:colId xmlns:a16="http://schemas.microsoft.com/office/drawing/2014/main" val="241871292"/>
                    </a:ext>
                  </a:extLst>
                </a:gridCol>
                <a:gridCol w="1080120">
                  <a:extLst>
                    <a:ext uri="{9D8B030D-6E8A-4147-A177-3AD203B41FA5}">
                      <a16:colId xmlns:a16="http://schemas.microsoft.com/office/drawing/2014/main" val="1306553139"/>
                    </a:ext>
                  </a:extLst>
                </a:gridCol>
                <a:gridCol w="953302">
                  <a:extLst>
                    <a:ext uri="{9D8B030D-6E8A-4147-A177-3AD203B41FA5}">
                      <a16:colId xmlns:a16="http://schemas.microsoft.com/office/drawing/2014/main" val="1246091539"/>
                    </a:ext>
                  </a:extLst>
                </a:gridCol>
              </a:tblGrid>
              <a:tr h="660448">
                <a:tc rowSpan="2">
                  <a:txBody>
                    <a:bodyPr/>
                    <a:lstStyle/>
                    <a:p>
                      <a:pPr marL="0" marR="0" algn="l">
                        <a:lnSpc>
                          <a:spcPct val="15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Inoculum</a:t>
                      </a:r>
                      <a:endParaRPr lang="en-US" sz="18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089" marR="68089" marT="0" marB="0"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err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ΔoDS</a:t>
                      </a:r>
                      <a:r>
                        <a:rPr lang="en-US" sz="18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[%]</a:t>
                      </a:r>
                      <a:endParaRPr lang="en-US" sz="18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089" marR="68089" marT="0" marB="0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algn="just">
                        <a:lnSpc>
                          <a:spcPct val="15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endParaRPr lang="en-US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089" marR="68089" marT="0" marB="0"/>
                </a:tc>
                <a:tc hMerge="1">
                  <a:txBody>
                    <a:bodyPr/>
                    <a:lstStyle/>
                    <a:p>
                      <a:pPr marL="0" marR="0" algn="just">
                        <a:lnSpc>
                          <a:spcPct val="15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endParaRPr lang="en-US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089" marR="68089" marT="0" marB="0"/>
                </a:tc>
                <a:tc gridSpan="3"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8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ΔC/N Ratio</a:t>
                      </a:r>
                      <a:endParaRPr lang="en-US" sz="18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8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750839"/>
                  </a:ext>
                </a:extLst>
              </a:tr>
              <a:tr h="47486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68089" marR="68089" marT="0" marB="0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</a:p>
                  </a:txBody>
                  <a:tcPr marL="68089" marR="68089" marT="0" marB="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</a:p>
                  </a:txBody>
                  <a:tcPr marL="68089" marR="68089" marT="0" marB="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</a:rPr>
                        <a:t>1</a:t>
                      </a:r>
                      <a:endParaRPr lang="en-US" sz="18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</a:rPr>
                        <a:t>2</a:t>
                      </a:r>
                      <a:endParaRPr lang="en-US" sz="18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</a:rPr>
                        <a:t>3</a:t>
                      </a:r>
                      <a:endParaRPr lang="en-US" sz="18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94155344"/>
                  </a:ext>
                </a:extLst>
              </a:tr>
              <a:tr h="475225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5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Fresh SS</a:t>
                      </a:r>
                      <a:endParaRPr lang="en-US" sz="18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089" marR="68089" marT="0" marB="0"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5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</a:rPr>
                        <a:t>4.41</a:t>
                      </a:r>
                      <a:endParaRPr lang="en-US" sz="18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089" marR="68089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B1E88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5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</a:rPr>
                        <a:t>4.4</a:t>
                      </a:r>
                      <a:endParaRPr lang="en-US" sz="18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089" marR="68089" marT="0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FF7E7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5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</a:rPr>
                        <a:t>4.48</a:t>
                      </a:r>
                      <a:endParaRPr lang="en-US" sz="18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089" marR="68089" marT="0" marB="0" anchor="ctr"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FFF480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0.69</a:t>
                      </a:r>
                    </a:p>
                  </a:txBody>
                  <a:tcPr marL="68580" marR="6858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8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30757565"/>
                  </a:ext>
                </a:extLst>
              </a:tr>
              <a:tr h="563914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5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tored SS</a:t>
                      </a:r>
                      <a:endParaRPr lang="en-US" sz="18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089" marR="68089" marT="0" marB="0"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5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</a:rPr>
                        <a:t>1.01</a:t>
                      </a:r>
                      <a:endParaRPr lang="en-US" sz="18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089" marR="68089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FFF48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5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</a:rPr>
                        <a:t>0.38</a:t>
                      </a:r>
                      <a:endParaRPr lang="en-US" sz="18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089" marR="68089" marT="0" marB="0" anchor="ctr">
                    <a:solidFill>
                      <a:srgbClr val="B1E88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5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</a:rPr>
                        <a:t>0.43</a:t>
                      </a:r>
                      <a:endParaRPr lang="en-US" sz="18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089" marR="68089" marT="0" marB="0" anchor="ctr"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7E7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5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0.54</a:t>
                      </a:r>
                    </a:p>
                  </a:txBody>
                  <a:tcPr marL="68580" marR="6858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FFF48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5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0.74</a:t>
                      </a:r>
                    </a:p>
                  </a:txBody>
                  <a:tcPr marL="68580" marR="68580" marT="0" marB="0" anchor="ctr">
                    <a:solidFill>
                      <a:srgbClr val="B1E88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5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</a:rPr>
                        <a:t>-0.59</a:t>
                      </a:r>
                      <a:endParaRPr lang="en-US" sz="18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FF7E7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81526598"/>
                  </a:ext>
                </a:extLst>
              </a:tr>
              <a:tr h="532663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5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Unscreened CM</a:t>
                      </a:r>
                      <a:endParaRPr lang="en-US" sz="18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089" marR="68089" marT="0" marB="0"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5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</a:rPr>
                        <a:t>2.66</a:t>
                      </a:r>
                      <a:endParaRPr lang="en-US" sz="18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089" marR="68089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FFF48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5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</a:rPr>
                        <a:t>3.29</a:t>
                      </a:r>
                      <a:endParaRPr lang="en-US" sz="18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089" marR="68089" marT="0" marB="0" anchor="ctr">
                    <a:solidFill>
                      <a:srgbClr val="B1E88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5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</a:rPr>
                        <a:t>4.77</a:t>
                      </a:r>
                      <a:endParaRPr lang="en-US" sz="18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089" marR="68089" marT="0" marB="0" anchor="ctr"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7E7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5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3.95</a:t>
                      </a:r>
                    </a:p>
                  </a:txBody>
                  <a:tcPr marL="68580" marR="6858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FFF48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5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0.03</a:t>
                      </a:r>
                    </a:p>
                  </a:txBody>
                  <a:tcPr marL="68580" marR="68580" marT="0" marB="0" anchor="ctr">
                    <a:solidFill>
                      <a:srgbClr val="B1E88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5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0.07</a:t>
                      </a:r>
                    </a:p>
                  </a:txBody>
                  <a:tcPr marL="68580" marR="68580" marT="0" marB="0" anchor="ctr">
                    <a:solidFill>
                      <a:srgbClr val="FF7E7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83425543"/>
                  </a:ext>
                </a:extLst>
              </a:tr>
              <a:tr h="563914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5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creened CM</a:t>
                      </a:r>
                      <a:endParaRPr lang="en-US" sz="18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089" marR="68089" marT="0" marB="0"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5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</a:rPr>
                        <a:t>3.69</a:t>
                      </a:r>
                      <a:endParaRPr lang="en-US" sz="18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089" marR="68089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B1E88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5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</a:rPr>
                        <a:t>2.42</a:t>
                      </a:r>
                      <a:endParaRPr lang="en-US" sz="18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089" marR="68089" marT="0" marB="0" anchor="ctr">
                    <a:solidFill>
                      <a:srgbClr val="FFF48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5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</a:rPr>
                        <a:t>2.35</a:t>
                      </a:r>
                      <a:endParaRPr lang="en-US" sz="18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089" marR="68089" marT="0" marB="0" anchor="ctr"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7E7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5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1.13</a:t>
                      </a:r>
                    </a:p>
                  </a:txBody>
                  <a:tcPr marL="68580" marR="6858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B1E88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5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</a:rPr>
                        <a:t>-2.12</a:t>
                      </a:r>
                      <a:endParaRPr lang="en-US" sz="18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FFF48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5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</a:rPr>
                        <a:t>-1.03</a:t>
                      </a:r>
                      <a:endParaRPr lang="en-US" sz="18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FF7E7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9939337"/>
                  </a:ext>
                </a:extLst>
              </a:tr>
              <a:tr h="563914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5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tirred FS</a:t>
                      </a:r>
                      <a:endParaRPr lang="en-US" sz="18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089" marR="68089" marT="0" marB="0"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5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</a:rPr>
                        <a:t>4.62</a:t>
                      </a:r>
                      <a:endParaRPr lang="en-US" sz="18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089" marR="68089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FF7E7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5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</a:rPr>
                        <a:t>4.24</a:t>
                      </a:r>
                      <a:endParaRPr lang="en-US" sz="18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089" marR="68089" marT="0" marB="0" anchor="ctr">
                    <a:solidFill>
                      <a:srgbClr val="FFF48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5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</a:rPr>
                        <a:t>4.69</a:t>
                      </a:r>
                      <a:endParaRPr lang="en-US" sz="18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089" marR="68089" marT="0" marB="0" anchor="ctr"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B1E88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5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</a:rPr>
                        <a:t>-1.68</a:t>
                      </a:r>
                      <a:endParaRPr lang="en-US" sz="18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FF7E7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5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</a:rPr>
                        <a:t>-1.65</a:t>
                      </a:r>
                      <a:endParaRPr lang="en-US" sz="18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FFF48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5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</a:rPr>
                        <a:t>-1.4</a:t>
                      </a:r>
                      <a:endParaRPr lang="en-US" sz="18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B1E88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55795336"/>
                  </a:ext>
                </a:extLst>
              </a:tr>
              <a:tr h="563914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5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Unstirred FS</a:t>
                      </a:r>
                      <a:endParaRPr lang="en-US" sz="18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089" marR="68089" marT="0" marB="0"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5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</a:rPr>
                        <a:t>3.89</a:t>
                      </a:r>
                      <a:endParaRPr lang="en-US" sz="18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089" marR="68089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FF7E7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5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</a:rPr>
                        <a:t>2.28</a:t>
                      </a:r>
                      <a:endParaRPr lang="en-US" sz="18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089" marR="68089" marT="0" marB="0" anchor="ctr">
                    <a:solidFill>
                      <a:srgbClr val="FFF48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5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</a:rPr>
                        <a:t>2.81</a:t>
                      </a:r>
                      <a:endParaRPr lang="en-US" sz="18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089" marR="68089" marT="0" marB="0" anchor="ctr"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B1E88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5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</a:rPr>
                        <a:t>0.49</a:t>
                      </a:r>
                      <a:endParaRPr lang="en-US" sz="18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FF7E7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5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</a:rPr>
                        <a:t>0.4</a:t>
                      </a:r>
                      <a:endParaRPr lang="en-US" sz="18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FFF48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5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</a:rPr>
                        <a:t>0.59</a:t>
                      </a:r>
                      <a:endParaRPr lang="en-US" sz="18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B1E88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6903768"/>
                  </a:ext>
                </a:extLst>
              </a:tr>
            </a:tbl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09E5C5A3-3524-3A45-9618-F6A7D536CCE2}"/>
              </a:ext>
            </a:extLst>
          </p:cNvPr>
          <p:cNvSpPr>
            <a:spLocks noChangeAspect="1"/>
          </p:cNvSpPr>
          <p:nvPr/>
        </p:nvSpPr>
        <p:spPr>
          <a:xfrm>
            <a:off x="3347864" y="5771299"/>
            <a:ext cx="914400" cy="424656"/>
          </a:xfrm>
          <a:prstGeom prst="rect">
            <a:avLst/>
          </a:prstGeom>
          <a:solidFill>
            <a:srgbClr val="FFF4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Medium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4EF0515-F090-7C47-9DA7-A29E18F33394}"/>
              </a:ext>
            </a:extLst>
          </p:cNvPr>
          <p:cNvSpPr>
            <a:spLocks noChangeAspect="1"/>
          </p:cNvSpPr>
          <p:nvPr/>
        </p:nvSpPr>
        <p:spPr>
          <a:xfrm>
            <a:off x="2307440" y="5773814"/>
            <a:ext cx="914400" cy="424656"/>
          </a:xfrm>
          <a:prstGeom prst="rect">
            <a:avLst/>
          </a:prstGeom>
          <a:solidFill>
            <a:srgbClr val="B1E8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High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6F1C671-0FC2-B245-8852-88C47148590B}"/>
              </a:ext>
            </a:extLst>
          </p:cNvPr>
          <p:cNvSpPr>
            <a:spLocks noChangeAspect="1"/>
          </p:cNvSpPr>
          <p:nvPr/>
        </p:nvSpPr>
        <p:spPr>
          <a:xfrm>
            <a:off x="4388288" y="5771299"/>
            <a:ext cx="914400" cy="424656"/>
          </a:xfrm>
          <a:prstGeom prst="rect">
            <a:avLst/>
          </a:prstGeom>
          <a:solidFill>
            <a:srgbClr val="FF7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L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2D0224C-081A-3A42-9CAB-28DDBBB17927}"/>
              </a:ext>
            </a:extLst>
          </p:cNvPr>
          <p:cNvSpPr txBox="1"/>
          <p:nvPr/>
        </p:nvSpPr>
        <p:spPr>
          <a:xfrm>
            <a:off x="683568" y="5800331"/>
            <a:ext cx="1954824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500" dirty="0"/>
              <a:t>Biogas Yield (NL):</a:t>
            </a:r>
          </a:p>
        </p:txBody>
      </p:sp>
    </p:spTree>
    <p:extLst>
      <p:ext uri="{BB962C8B-B14F-4D97-AF65-F5344CB8AC3E}">
        <p14:creationId xmlns:p14="http://schemas.microsoft.com/office/powerpoint/2010/main" val="362496537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F8D955-0308-6B45-A93C-55D8D69384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ditional Slides – Corrected Volumes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8BA482AB-E9C4-6041-AFD6-58D9081F8AE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56839890"/>
              </p:ext>
            </p:extLst>
          </p:nvPr>
        </p:nvGraphicFramePr>
        <p:xfrm>
          <a:off x="323528" y="908720"/>
          <a:ext cx="8208912" cy="55446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408585986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BB79FC-3C48-1C4B-8DEF-049DC7A79B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ditional Slides – Material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19A7F17-30EA-CD4E-94B8-51C446D0CF77}"/>
              </a:ext>
            </a:extLst>
          </p:cNvPr>
          <p:cNvSpPr txBox="1"/>
          <p:nvPr/>
        </p:nvSpPr>
        <p:spPr>
          <a:xfrm>
            <a:off x="3563888" y="1307018"/>
            <a:ext cx="29625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/>
              <a:t>OxiTop Measuring Head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666530E-26D5-5545-96AC-DE8C3D8599CE}"/>
              </a:ext>
            </a:extLst>
          </p:cNvPr>
          <p:cNvSpPr txBox="1"/>
          <p:nvPr/>
        </p:nvSpPr>
        <p:spPr>
          <a:xfrm>
            <a:off x="4139952" y="4337346"/>
            <a:ext cx="2066716" cy="4062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/>
              <a:t>Inoculum</a:t>
            </a:r>
            <a:endParaRPr lang="en-US" sz="200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DA4D9C5-F137-E345-85CB-FD3578B4136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358070">
            <a:off x="503792" y="2055630"/>
            <a:ext cx="2341655" cy="2341655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540C36AD-F8E5-594F-9784-BF279ACD242E}"/>
              </a:ext>
            </a:extLst>
          </p:cNvPr>
          <p:cNvSpPr txBox="1"/>
          <p:nvPr/>
        </p:nvSpPr>
        <p:spPr>
          <a:xfrm>
            <a:off x="2165438" y="3810369"/>
            <a:ext cx="262258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/>
              <a:t>OxiTop Controller</a:t>
            </a:r>
            <a:endParaRPr lang="en-US" sz="2000" dirty="0"/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F17FB7CB-F755-1440-AAA9-DFA5EFB112AA}"/>
              </a:ext>
            </a:extLst>
          </p:cNvPr>
          <p:cNvCxnSpPr>
            <a:cxnSpLocks/>
          </p:cNvCxnSpPr>
          <p:nvPr/>
        </p:nvCxnSpPr>
        <p:spPr bwMode="auto">
          <a:xfrm flipV="1">
            <a:off x="3849630" y="2908307"/>
            <a:ext cx="1809055" cy="10419"/>
          </a:xfrm>
          <a:prstGeom prst="straightConnector1">
            <a:avLst/>
          </a:prstGeom>
          <a:solidFill>
            <a:schemeClr val="tx2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56E6ABE3-C9AF-E740-9696-69FE91D80386}"/>
              </a:ext>
            </a:extLst>
          </p:cNvPr>
          <p:cNvSpPr txBox="1"/>
          <p:nvPr/>
        </p:nvSpPr>
        <p:spPr>
          <a:xfrm>
            <a:off x="3818721" y="2564904"/>
            <a:ext cx="204942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Pressure Release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8D0313C3-E72B-A048-B828-DE06FC42073D}"/>
              </a:ext>
            </a:extLst>
          </p:cNvPr>
          <p:cNvGrpSpPr/>
          <p:nvPr/>
        </p:nvGrpSpPr>
        <p:grpSpPr>
          <a:xfrm>
            <a:off x="5593192" y="1582137"/>
            <a:ext cx="3100011" cy="3723880"/>
            <a:chOff x="5216405" y="1991947"/>
            <a:chExt cx="3100011" cy="3723880"/>
          </a:xfrm>
        </p:grpSpPr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6476703D-9C78-C540-B780-40BB86A6247B}"/>
                </a:ext>
              </a:extLst>
            </p:cNvPr>
            <p:cNvGrpSpPr/>
            <p:nvPr/>
          </p:nvGrpSpPr>
          <p:grpSpPr>
            <a:xfrm>
              <a:off x="5216405" y="1991947"/>
              <a:ext cx="3100011" cy="3723880"/>
              <a:chOff x="2339752" y="1484784"/>
              <a:chExt cx="3743672" cy="4529881"/>
            </a:xfrm>
          </p:grpSpPr>
          <p:pic>
            <p:nvPicPr>
              <p:cNvPr id="16" name="Picture 15">
                <a:extLst>
                  <a:ext uri="{FF2B5EF4-FFF2-40B4-BE49-F238E27FC236}">
                    <a16:creationId xmlns:a16="http://schemas.microsoft.com/office/drawing/2014/main" id="{56F68D84-4C24-7E4E-8818-5BB4A612CD4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339752" y="2270993"/>
                <a:ext cx="3743672" cy="3743672"/>
              </a:xfrm>
              <a:prstGeom prst="rect">
                <a:avLst/>
              </a:prstGeom>
            </p:spPr>
          </p:pic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A0512295-0D1F-4F4F-9913-1D0FCC848BA0}"/>
                  </a:ext>
                </a:extLst>
              </p:cNvPr>
              <p:cNvSpPr/>
              <p:nvPr/>
            </p:nvSpPr>
            <p:spPr bwMode="auto">
              <a:xfrm rot="9431786">
                <a:off x="3322082" y="3333233"/>
                <a:ext cx="192235" cy="318159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2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424D2EDF-610A-9B4E-B8E6-952DF9D3623D}"/>
                  </a:ext>
                </a:extLst>
              </p:cNvPr>
              <p:cNvSpPr/>
              <p:nvPr/>
            </p:nvSpPr>
            <p:spPr bwMode="auto">
              <a:xfrm rot="19879802">
                <a:off x="3368768" y="3074602"/>
                <a:ext cx="130000" cy="382454"/>
              </a:xfrm>
              <a:prstGeom prst="rect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2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2734C728-9AF6-E546-95BB-CFE989629B11}"/>
                  </a:ext>
                </a:extLst>
              </p:cNvPr>
              <p:cNvSpPr/>
              <p:nvPr/>
            </p:nvSpPr>
            <p:spPr bwMode="auto">
              <a:xfrm rot="19879802">
                <a:off x="3128961" y="3205717"/>
                <a:ext cx="130000" cy="389840"/>
              </a:xfrm>
              <a:prstGeom prst="rect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2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20" name="Frame 19">
                <a:extLst>
                  <a:ext uri="{FF2B5EF4-FFF2-40B4-BE49-F238E27FC236}">
                    <a16:creationId xmlns:a16="http://schemas.microsoft.com/office/drawing/2014/main" id="{4D71E4AE-B95E-3C4F-AC5E-3E309B87C2DF}"/>
                  </a:ext>
                </a:extLst>
              </p:cNvPr>
              <p:cNvSpPr/>
              <p:nvPr/>
            </p:nvSpPr>
            <p:spPr bwMode="auto">
              <a:xfrm rot="19933215">
                <a:off x="2895389" y="2834297"/>
                <a:ext cx="444983" cy="277543"/>
              </a:xfrm>
              <a:prstGeom prst="frame">
                <a:avLst>
                  <a:gd name="adj1" fmla="val 34675"/>
                </a:avLst>
              </a:prstGeom>
              <a:solidFill>
                <a:srgbClr val="000000"/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2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D67A6B21-A72D-6448-9A26-8757CA131DAF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12168214" flipH="1">
                <a:off x="4931400" y="3348152"/>
                <a:ext cx="192235" cy="318159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2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C019F6CA-C5CB-7E4A-B309-5D4D95245C46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1720198" flipH="1">
                <a:off x="5177788" y="3212106"/>
                <a:ext cx="130000" cy="382454"/>
              </a:xfrm>
              <a:prstGeom prst="rect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2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DF8675E4-4DF5-4546-AD62-1A5E17A1C2D5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1720198" flipH="1">
                <a:off x="4948722" y="3078278"/>
                <a:ext cx="130000" cy="389840"/>
              </a:xfrm>
              <a:prstGeom prst="rect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2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24" name="Frame 23">
                <a:extLst>
                  <a:ext uri="{FF2B5EF4-FFF2-40B4-BE49-F238E27FC236}">
                    <a16:creationId xmlns:a16="http://schemas.microsoft.com/office/drawing/2014/main" id="{C58001F1-9E79-4C4E-9CCB-CAF08C04C1A2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1666785" flipH="1">
                <a:off x="5110430" y="2832946"/>
                <a:ext cx="437459" cy="277543"/>
              </a:xfrm>
              <a:prstGeom prst="frame">
                <a:avLst>
                  <a:gd name="adj1" fmla="val 34675"/>
                </a:avLst>
              </a:prstGeom>
              <a:solidFill>
                <a:srgbClr val="000000"/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2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25" name="Delay 24">
                <a:extLst>
                  <a:ext uri="{FF2B5EF4-FFF2-40B4-BE49-F238E27FC236}">
                    <a16:creationId xmlns:a16="http://schemas.microsoft.com/office/drawing/2014/main" id="{CDE0EF7C-E492-E84D-B0EF-9E15F05F7F3D}"/>
                  </a:ext>
                </a:extLst>
              </p:cNvPr>
              <p:cNvSpPr/>
              <p:nvPr/>
            </p:nvSpPr>
            <p:spPr bwMode="auto">
              <a:xfrm rot="16200000">
                <a:off x="3875325" y="1317363"/>
                <a:ext cx="673270" cy="1008112"/>
              </a:xfrm>
              <a:prstGeom prst="flowChartDelay">
                <a:avLst/>
              </a:prstGeom>
              <a:solidFill>
                <a:schemeClr val="bg1"/>
              </a:solidFill>
              <a:ln w="136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2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</p:grpSp>
        <p:sp>
          <p:nvSpPr>
            <p:cNvPr id="14" name="Terminator 13">
              <a:extLst>
                <a:ext uri="{FF2B5EF4-FFF2-40B4-BE49-F238E27FC236}">
                  <a16:creationId xmlns:a16="http://schemas.microsoft.com/office/drawing/2014/main" id="{9B4F3B5D-D12E-6F46-8449-CBB5B8E9C5D7}"/>
                </a:ext>
              </a:extLst>
            </p:cNvPr>
            <p:cNvSpPr/>
            <p:nvPr/>
          </p:nvSpPr>
          <p:spPr bwMode="auto">
            <a:xfrm>
              <a:off x="6394173" y="5347189"/>
              <a:ext cx="724544" cy="139679"/>
            </a:xfrm>
            <a:prstGeom prst="flowChartTerminator">
              <a:avLst/>
            </a:prstGeom>
            <a:solidFill>
              <a:schemeClr val="tx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5" name="Curved Left Arrow 14">
              <a:extLst>
                <a:ext uri="{FF2B5EF4-FFF2-40B4-BE49-F238E27FC236}">
                  <a16:creationId xmlns:a16="http://schemas.microsoft.com/office/drawing/2014/main" id="{109FFA0A-41A4-674A-82DC-499C5EB4DE8D}"/>
                </a:ext>
              </a:extLst>
            </p:cNvPr>
            <p:cNvSpPr/>
            <p:nvPr/>
          </p:nvSpPr>
          <p:spPr bwMode="auto">
            <a:xfrm>
              <a:off x="6603270" y="5192314"/>
              <a:ext cx="326280" cy="124061"/>
            </a:xfrm>
            <a:prstGeom prst="curvedLeftArrow">
              <a:avLst>
                <a:gd name="adj1" fmla="val 4381"/>
                <a:gd name="adj2" fmla="val 50000"/>
                <a:gd name="adj3" fmla="val 31850"/>
              </a:avLst>
            </a:prstGeom>
            <a:solidFill>
              <a:schemeClr val="tx1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26" name="Bent-Up Arrow 25">
            <a:extLst>
              <a:ext uri="{FF2B5EF4-FFF2-40B4-BE49-F238E27FC236}">
                <a16:creationId xmlns:a16="http://schemas.microsoft.com/office/drawing/2014/main" id="{5AA11EBB-B212-3047-8E0A-3DF01961BF96}"/>
              </a:ext>
            </a:extLst>
          </p:cNvPr>
          <p:cNvSpPr/>
          <p:nvPr/>
        </p:nvSpPr>
        <p:spPr bwMode="auto">
          <a:xfrm>
            <a:off x="4733152" y="5444343"/>
            <a:ext cx="2431236" cy="504056"/>
          </a:xfrm>
          <a:prstGeom prst="bentUpArrow">
            <a:avLst>
              <a:gd name="adj1" fmla="val 1130"/>
              <a:gd name="adj2" fmla="val 13066"/>
              <a:gd name="adj3" fmla="val 25000"/>
            </a:avLst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E74DE3A-1B90-D047-A228-F871BD9408D7}"/>
              </a:ext>
            </a:extLst>
          </p:cNvPr>
          <p:cNvSpPr txBox="1"/>
          <p:nvPr/>
        </p:nvSpPr>
        <p:spPr>
          <a:xfrm>
            <a:off x="4652239" y="5642465"/>
            <a:ext cx="193598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Stirring Flea</a:t>
            </a:r>
          </a:p>
        </p:txBody>
      </p: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9700E06D-A80F-0542-901D-42AFC29D8EAC}"/>
              </a:ext>
            </a:extLst>
          </p:cNvPr>
          <p:cNvCxnSpPr>
            <a:cxnSpLocks/>
          </p:cNvCxnSpPr>
          <p:nvPr/>
        </p:nvCxnSpPr>
        <p:spPr bwMode="auto">
          <a:xfrm>
            <a:off x="3635896" y="1724648"/>
            <a:ext cx="2842780" cy="1"/>
          </a:xfrm>
          <a:prstGeom prst="straightConnector1">
            <a:avLst/>
          </a:prstGeom>
          <a:solidFill>
            <a:schemeClr val="tx2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77B1F05C-DBB3-AD4A-9C27-E3FBEDB3A8B1}"/>
              </a:ext>
            </a:extLst>
          </p:cNvPr>
          <p:cNvCxnSpPr>
            <a:cxnSpLocks/>
          </p:cNvCxnSpPr>
          <p:nvPr/>
        </p:nvCxnSpPr>
        <p:spPr bwMode="auto">
          <a:xfrm flipV="1">
            <a:off x="4200550" y="4647736"/>
            <a:ext cx="1809055" cy="10419"/>
          </a:xfrm>
          <a:prstGeom prst="straightConnector1">
            <a:avLst/>
          </a:prstGeom>
          <a:solidFill>
            <a:schemeClr val="tx2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8617738F-C8F4-E84A-AA9F-38F86518393C}"/>
              </a:ext>
            </a:extLst>
          </p:cNvPr>
          <p:cNvCxnSpPr>
            <a:cxnSpLocks/>
          </p:cNvCxnSpPr>
          <p:nvPr/>
        </p:nvCxnSpPr>
        <p:spPr bwMode="auto">
          <a:xfrm flipH="1">
            <a:off x="1743808" y="4149081"/>
            <a:ext cx="2105822" cy="0"/>
          </a:xfrm>
          <a:prstGeom prst="straightConnector1">
            <a:avLst/>
          </a:prstGeom>
          <a:solidFill>
            <a:schemeClr val="tx2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271707210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EC30D7-1834-1A45-B039-DCDA91A9CD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ditional Slides – Results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5594193A-D416-2B44-A366-5FDC9ABD8738}"/>
              </a:ext>
            </a:extLst>
          </p:cNvPr>
          <p:cNvSpPr txBox="1">
            <a:spLocks/>
          </p:cNvSpPr>
          <p:nvPr/>
        </p:nvSpPr>
        <p:spPr>
          <a:xfrm>
            <a:off x="277200" y="1004400"/>
            <a:ext cx="8399256" cy="5234400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fontAlgn="base" latinLnBrk="0" hangingPunct="1">
              <a:spcBef>
                <a:spcPct val="20000"/>
              </a:spcBef>
              <a:spcAft>
                <a:spcPct val="20000"/>
              </a:spcAft>
              <a:buClr>
                <a:schemeClr val="accent6"/>
              </a:buClr>
              <a:buSzPct val="75000"/>
              <a:buFont typeface="Wingdings 3" pitchFamily="18" charset="2"/>
              <a:buChar char="u"/>
              <a:tabLst>
                <a:tab pos="266700" algn="l"/>
                <a:tab pos="631825" algn="l"/>
                <a:tab pos="981075" algn="l"/>
              </a:tabLst>
              <a:defRPr lang="de-DE" sz="240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742950" indent="-285750" algn="l" defTabSz="914400" rtl="0" eaLnBrk="1" fontAlgn="base" latinLnBrk="0" hangingPunct="1">
              <a:spcBef>
                <a:spcPct val="20000"/>
              </a:spcBef>
              <a:spcAft>
                <a:spcPct val="20000"/>
              </a:spcAft>
              <a:buClr>
                <a:schemeClr val="accent1"/>
              </a:buClr>
              <a:buSzPct val="100000"/>
              <a:buFont typeface="Symbol" pitchFamily="18" charset="2"/>
              <a:buChar char="-"/>
              <a:tabLst>
                <a:tab pos="266700" algn="l"/>
                <a:tab pos="631825" algn="l"/>
                <a:tab pos="981075" algn="l"/>
              </a:tabLst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1143000" indent="-228600" algn="l" defTabSz="914400" rtl="0" eaLnBrk="1" fontAlgn="base" latinLnBrk="0" hangingPunct="1">
              <a:spcBef>
                <a:spcPct val="20000"/>
              </a:spcBef>
              <a:spcAft>
                <a:spcPct val="20000"/>
              </a:spcAft>
              <a:buClr>
                <a:schemeClr val="accent3"/>
              </a:buClr>
              <a:buSzPct val="100000"/>
              <a:buFont typeface="Symbol" pitchFamily="18" charset="2"/>
              <a:buChar char="-"/>
              <a:tabLst>
                <a:tab pos="266700" algn="l"/>
                <a:tab pos="631825" algn="l"/>
                <a:tab pos="981075" algn="l"/>
              </a:tabLst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600200" indent="-228600" algn="l" defTabSz="914400" rtl="0" eaLnBrk="1" fontAlgn="base" latinLnBrk="0" hangingPunct="1">
              <a:spcBef>
                <a:spcPct val="20000"/>
              </a:spcBef>
              <a:spcAft>
                <a:spcPct val="20000"/>
              </a:spcAft>
              <a:buClr>
                <a:schemeClr val="tx1"/>
              </a:buClr>
              <a:buFont typeface="Arial" pitchFamily="34" charset="0"/>
              <a:buChar char="–"/>
              <a:tabLst>
                <a:tab pos="266700" algn="l"/>
                <a:tab pos="631825" algn="l"/>
                <a:tab pos="981075" algn="l"/>
              </a:tabLst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2057400" indent="-228600" algn="l" defTabSz="914400" rtl="0" eaLnBrk="1" fontAlgn="base" latinLnBrk="0" hangingPunct="1">
              <a:spcBef>
                <a:spcPct val="20000"/>
              </a:spcBef>
              <a:spcAft>
                <a:spcPct val="20000"/>
              </a:spcAft>
              <a:buClr>
                <a:schemeClr val="tx1"/>
              </a:buClr>
              <a:buFont typeface="Symbol" pitchFamily="18" charset="2"/>
              <a:buChar char="-"/>
              <a:tabLst>
                <a:tab pos="266700" algn="l"/>
                <a:tab pos="631825" algn="l"/>
                <a:tab pos="981075" algn="l"/>
              </a:tabLst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Clr>
                <a:schemeClr val="tx1"/>
              </a:buClr>
              <a:buFont typeface="Arial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Clr>
                <a:schemeClr val="tx1"/>
              </a:buClr>
              <a:buFont typeface="Arial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Clr>
                <a:schemeClr val="tx1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Overall biogas potential after two weeks:</a:t>
            </a:r>
          </a:p>
          <a:p>
            <a:pPr marL="0" indent="0">
              <a:buNone/>
            </a:pPr>
            <a:r>
              <a:rPr lang="en-US" dirty="0"/>
              <a:t>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7418841-1DF9-CA4B-82EC-97B7C6369B17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75060" y="1467102"/>
            <a:ext cx="1179599" cy="1179599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DE8772CA-8F05-2448-B04D-7BB16FF0F510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92000"/>
            <a:extLst>
              <a:ext uri="{BEBA8EAE-BF5A-486C-A8C5-ECC9F3942E4B}">
                <a14:imgProps xmlns:a14="http://schemas.microsoft.com/office/drawing/2010/main">
                  <a14:imgLayer>
                    <a14:imgEffect>
                      <a14:colorTemperature colorTemp="11200"/>
                    </a14:imgEffect>
                    <a14:imgEffect>
                      <a14:saturation sat="400000"/>
                    </a14:imgEffect>
                    <a14:imgEffect>
                      <a14:brightnessContrast bright="91000" contrast="-4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9318" y="1539502"/>
            <a:ext cx="1034800" cy="10348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619E8BC2-88AC-6241-BE37-7468AB025B57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b="16932"/>
          <a:stretch/>
        </p:blipFill>
        <p:spPr>
          <a:xfrm>
            <a:off x="1237789" y="1553255"/>
            <a:ext cx="1264099" cy="1002892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209A459E-F4CC-854F-9728-70713C667E00}"/>
              </a:ext>
            </a:extLst>
          </p:cNvPr>
          <p:cNvSpPr txBox="1"/>
          <p:nvPr/>
        </p:nvSpPr>
        <p:spPr>
          <a:xfrm>
            <a:off x="1281519" y="2709294"/>
            <a:ext cx="1176638" cy="400110"/>
          </a:xfrm>
          <a:prstGeom prst="rect">
            <a:avLst/>
          </a:prstGeom>
          <a:noFill/>
          <a:ln>
            <a:solidFill>
              <a:srgbClr val="27401F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latin typeface="Calibri" panose="020F0502020204030204" pitchFamily="34" charset="0"/>
                <a:cs typeface="Calibri" panose="020F0502020204030204" pitchFamily="34" charset="0"/>
              </a:rPr>
              <a:t>Fresh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1B2A230-5E3F-9D4C-A152-DD09B8AD3EFC}"/>
              </a:ext>
            </a:extLst>
          </p:cNvPr>
          <p:cNvSpPr txBox="1"/>
          <p:nvPr/>
        </p:nvSpPr>
        <p:spPr>
          <a:xfrm>
            <a:off x="4031565" y="2709294"/>
            <a:ext cx="1466587" cy="400110"/>
          </a:xfrm>
          <a:prstGeom prst="rect">
            <a:avLst/>
          </a:prstGeom>
          <a:noFill/>
          <a:ln>
            <a:solidFill>
              <a:srgbClr val="27401F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latin typeface="Calibri" panose="020F0502020204030204" pitchFamily="34" charset="0"/>
                <a:cs typeface="Calibri" panose="020F0502020204030204" pitchFamily="34" charset="0"/>
              </a:rPr>
              <a:t>Screened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4880B41-AEC6-2644-9E72-43B8DC6E7909}"/>
              </a:ext>
            </a:extLst>
          </p:cNvPr>
          <p:cNvSpPr txBox="1"/>
          <p:nvPr/>
        </p:nvSpPr>
        <p:spPr>
          <a:xfrm>
            <a:off x="7050898" y="2709294"/>
            <a:ext cx="1351640" cy="400110"/>
          </a:xfrm>
          <a:prstGeom prst="rect">
            <a:avLst/>
          </a:prstGeom>
          <a:noFill/>
          <a:ln>
            <a:solidFill>
              <a:srgbClr val="27401F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latin typeface="Calibri" panose="020F0502020204030204" pitchFamily="34" charset="0"/>
                <a:cs typeface="Calibri" panose="020F0502020204030204" pitchFamily="34" charset="0"/>
              </a:rPr>
              <a:t>Stirred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4450061A-C508-E441-99E3-1863E31ED298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36918" y="4247729"/>
            <a:ext cx="1179599" cy="1179599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3476987B-B916-E44E-BF32-54A39D0ABBC8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92000"/>
            <a:extLst>
              <a:ext uri="{BEBA8EAE-BF5A-486C-A8C5-ECC9F3942E4B}">
                <a14:imgProps xmlns:a14="http://schemas.microsoft.com/office/drawing/2010/main">
                  <a14:imgLayer>
                    <a14:imgEffect>
                      <a14:colorTemperature colorTemp="11200"/>
                    </a14:imgEffect>
                    <a14:imgEffect>
                      <a14:saturation sat="400000"/>
                    </a14:imgEffect>
                    <a14:imgEffect>
                      <a14:brightnessContrast bright="91000" contrast="-4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2438" y="4320129"/>
            <a:ext cx="1034800" cy="103480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B4729A14-229F-9E4E-8090-5C86D834A04E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b="16932"/>
          <a:stretch/>
        </p:blipFill>
        <p:spPr>
          <a:xfrm>
            <a:off x="4133709" y="4336083"/>
            <a:ext cx="1264099" cy="1002892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071634B0-E162-B545-93D2-4CCEC01BAE48}"/>
              </a:ext>
            </a:extLst>
          </p:cNvPr>
          <p:cNvSpPr txBox="1"/>
          <p:nvPr/>
        </p:nvSpPr>
        <p:spPr>
          <a:xfrm>
            <a:off x="4175060" y="5524243"/>
            <a:ext cx="1176638" cy="400110"/>
          </a:xfrm>
          <a:prstGeom prst="rect">
            <a:avLst/>
          </a:prstGeom>
          <a:noFill/>
          <a:ln>
            <a:solidFill>
              <a:srgbClr val="27401F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latin typeface="Calibri" panose="020F0502020204030204" pitchFamily="34" charset="0"/>
                <a:cs typeface="Calibri" panose="020F0502020204030204" pitchFamily="34" charset="0"/>
              </a:rPr>
              <a:t>Stored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78ADB7A-E1B0-1A4D-9CE5-B0BAC2744167}"/>
              </a:ext>
            </a:extLst>
          </p:cNvPr>
          <p:cNvSpPr txBox="1"/>
          <p:nvPr/>
        </p:nvSpPr>
        <p:spPr>
          <a:xfrm>
            <a:off x="6993423" y="5524243"/>
            <a:ext cx="1466587" cy="400110"/>
          </a:xfrm>
          <a:prstGeom prst="rect">
            <a:avLst/>
          </a:prstGeom>
          <a:noFill/>
          <a:ln>
            <a:solidFill>
              <a:srgbClr val="27401F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latin typeface="Calibri" panose="020F0502020204030204" pitchFamily="34" charset="0"/>
                <a:cs typeface="Calibri" panose="020F0502020204030204" pitchFamily="34" charset="0"/>
              </a:rPr>
              <a:t>Unscreened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BE18BA9-5D6C-304C-B35B-AC1F4495EC64}"/>
              </a:ext>
            </a:extLst>
          </p:cNvPr>
          <p:cNvSpPr txBox="1"/>
          <p:nvPr/>
        </p:nvSpPr>
        <p:spPr>
          <a:xfrm>
            <a:off x="1194018" y="5529921"/>
            <a:ext cx="1351640" cy="400110"/>
          </a:xfrm>
          <a:prstGeom prst="rect">
            <a:avLst/>
          </a:prstGeom>
          <a:noFill/>
          <a:ln>
            <a:solidFill>
              <a:srgbClr val="27401F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latin typeface="Calibri" panose="020F0502020204030204" pitchFamily="34" charset="0"/>
                <a:cs typeface="Calibri" panose="020F0502020204030204" pitchFamily="34" charset="0"/>
              </a:rPr>
              <a:t>Unstirred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A7B548AC-E70E-2F41-967B-12E87EAAF9EE}"/>
              </a:ext>
            </a:extLst>
          </p:cNvPr>
          <p:cNvSpPr txBox="1"/>
          <p:nvPr/>
        </p:nvSpPr>
        <p:spPr>
          <a:xfrm flipH="1">
            <a:off x="3052290" y="1662286"/>
            <a:ext cx="572368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500" dirty="0"/>
              <a:t>&gt;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1C078614-4CE9-1549-9FB2-1806F2C7B994}"/>
              </a:ext>
            </a:extLst>
          </p:cNvPr>
          <p:cNvSpPr txBox="1"/>
          <p:nvPr/>
        </p:nvSpPr>
        <p:spPr>
          <a:xfrm flipH="1">
            <a:off x="5993485" y="1662286"/>
            <a:ext cx="572368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500" dirty="0"/>
              <a:t>&gt;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18A661C0-FB1B-D040-8817-C18D6D058841}"/>
              </a:ext>
            </a:extLst>
          </p:cNvPr>
          <p:cNvSpPr txBox="1"/>
          <p:nvPr/>
        </p:nvSpPr>
        <p:spPr>
          <a:xfrm flipH="1">
            <a:off x="3052290" y="4445113"/>
            <a:ext cx="572368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500" dirty="0"/>
              <a:t>&gt;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B90B1805-DAF5-A147-AFE2-06DCC352C4D2}"/>
              </a:ext>
            </a:extLst>
          </p:cNvPr>
          <p:cNvSpPr txBox="1"/>
          <p:nvPr/>
        </p:nvSpPr>
        <p:spPr>
          <a:xfrm flipH="1">
            <a:off x="5993485" y="4445113"/>
            <a:ext cx="572368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500" dirty="0"/>
              <a:t>&gt;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E711892B-99E6-7A4A-A696-A1CC1E65BF8A}"/>
              </a:ext>
            </a:extLst>
          </p:cNvPr>
          <p:cNvSpPr txBox="1"/>
          <p:nvPr/>
        </p:nvSpPr>
        <p:spPr>
          <a:xfrm flipH="1">
            <a:off x="559363" y="4445113"/>
            <a:ext cx="572368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500" dirty="0"/>
              <a:t>&gt;</a:t>
            </a:r>
          </a:p>
        </p:txBody>
      </p:sp>
    </p:spTree>
    <p:extLst>
      <p:ext uri="{BB962C8B-B14F-4D97-AF65-F5344CB8AC3E}">
        <p14:creationId xmlns:p14="http://schemas.microsoft.com/office/powerpoint/2010/main" val="343706163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5BEF08-8FA3-BA43-940B-F15099326A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tiv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3200A51-6952-294A-A99C-4BCC853DA2FC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77200" y="1004400"/>
            <a:ext cx="8589600" cy="5234400"/>
          </a:xfrm>
        </p:spPr>
        <p:txBody>
          <a:bodyPr>
            <a:normAutofit/>
          </a:bodyPr>
          <a:lstStyle/>
          <a:p>
            <a:r>
              <a:rPr lang="en-US" dirty="0"/>
              <a:t>Research in context of the BioRist project</a:t>
            </a:r>
          </a:p>
          <a:p>
            <a:r>
              <a:rPr lang="en-US" dirty="0"/>
              <a:t>Biogas pilot plant in Vietnam</a:t>
            </a:r>
          </a:p>
          <a:p>
            <a:pPr lvl="1">
              <a:buFont typeface="Wingdings" pitchFamily="2" charset="2"/>
              <a:buChar char="§"/>
            </a:pPr>
            <a:r>
              <a:rPr lang="en-US" sz="2400" dirty="0"/>
              <a:t>Inoculum: Cow manure</a:t>
            </a:r>
          </a:p>
          <a:p>
            <a:pPr marL="457200" lvl="1" indent="0">
              <a:buNone/>
            </a:pPr>
            <a:endParaRPr lang="en-US" sz="2400" dirty="0"/>
          </a:p>
          <a:p>
            <a:pPr marL="457200" lvl="1" indent="0">
              <a:buNone/>
            </a:pPr>
            <a:endParaRPr lang="en-US" sz="2400" dirty="0"/>
          </a:p>
          <a:p>
            <a:pPr marL="457200" lvl="1" indent="0">
              <a:buNone/>
            </a:pPr>
            <a:endParaRPr lang="en-US" sz="2400" dirty="0"/>
          </a:p>
          <a:p>
            <a:r>
              <a:rPr lang="en-US" dirty="0"/>
              <a:t>Search for co-substrates</a:t>
            </a:r>
          </a:p>
          <a:p>
            <a:r>
              <a:rPr lang="en-US" altLang="de-DE" dirty="0"/>
              <a:t>Data on inoculum required</a:t>
            </a:r>
          </a:p>
          <a:p>
            <a:r>
              <a:rPr lang="en-US" altLang="de-DE" dirty="0"/>
              <a:t>Extended with sewage sludge and fermentation residue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95887DB-3B33-EC46-8219-707762BFEE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00192" y="2132856"/>
            <a:ext cx="1872208" cy="1872208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B3221C8-241D-2F45-828D-8EAB43D6861A}"/>
              </a:ext>
            </a:extLst>
          </p:cNvPr>
          <p:cNvSpPr txBox="1"/>
          <p:nvPr/>
        </p:nvSpPr>
        <p:spPr>
          <a:xfrm>
            <a:off x="510369" y="6453336"/>
            <a:ext cx="501488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>
                <a:solidFill>
                  <a:schemeClr val="bg2">
                    <a:lumMod val="25000"/>
                  </a:schemeClr>
                </a:solidFill>
              </a:rPr>
              <a:t>Motivation</a:t>
            </a:r>
            <a:r>
              <a:rPr lang="en-US" sz="1100" dirty="0">
                <a:solidFill>
                  <a:schemeClr val="bg2">
                    <a:lumMod val="25000"/>
                  </a:schemeClr>
                </a:solidFill>
              </a:rPr>
              <a:t> - Objectives - Hypotheses - Methods  - Results - Discussion - Conclusion</a:t>
            </a:r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285990833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1626E6-8A92-CF4A-BAAF-CDD6840965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bjectiv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1695A25-7AA9-8944-98E0-033C84845908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55576" y="1004400"/>
            <a:ext cx="8111224" cy="5234400"/>
          </a:xfrm>
        </p:spPr>
        <p:txBody>
          <a:bodyPr>
            <a:normAutofit/>
          </a:bodyPr>
          <a:lstStyle/>
          <a:p>
            <a:pPr marL="441325" lvl="1" indent="0">
              <a:lnSpc>
                <a:spcPct val="100000"/>
              </a:lnSpc>
              <a:buFont typeface="Calibri" panose="020F0502020204030204" pitchFamily="34" charset="0"/>
              <a:buNone/>
            </a:pPr>
            <a:r>
              <a:rPr lang="en-US" altLang="de-DE" sz="2400" b="1" dirty="0">
                <a:solidFill>
                  <a:schemeClr val="bg2">
                    <a:lumMod val="10000"/>
                  </a:schemeClr>
                </a:solidFill>
              </a:rPr>
              <a:t>Compare </a:t>
            </a:r>
            <a:r>
              <a:rPr lang="en-US" altLang="de-DE" sz="2400" dirty="0">
                <a:solidFill>
                  <a:schemeClr val="bg2">
                    <a:lumMod val="10000"/>
                  </a:schemeClr>
                </a:solidFill>
              </a:rPr>
              <a:t>gas-formation potential of the inocula</a:t>
            </a:r>
          </a:p>
          <a:p>
            <a:pPr marL="441325" lvl="1" indent="0">
              <a:lnSpc>
                <a:spcPct val="100000"/>
              </a:lnSpc>
              <a:buNone/>
            </a:pPr>
            <a:r>
              <a:rPr lang="en-US" altLang="de-DE" sz="2400" dirty="0">
                <a:solidFill>
                  <a:schemeClr val="bg2">
                    <a:lumMod val="10000"/>
                  </a:schemeClr>
                </a:solidFill>
              </a:rPr>
              <a:t>During incubation period of two weeks</a:t>
            </a:r>
          </a:p>
          <a:p>
            <a:pPr marL="441325" lvl="1" indent="0">
              <a:lnSpc>
                <a:spcPct val="100000"/>
              </a:lnSpc>
              <a:buNone/>
            </a:pPr>
            <a:endParaRPr lang="en-US" altLang="de-DE" sz="500" dirty="0">
              <a:solidFill>
                <a:schemeClr val="bg2">
                  <a:lumMod val="10000"/>
                </a:schemeClr>
              </a:solidFill>
            </a:endParaRPr>
          </a:p>
          <a:p>
            <a:pPr marL="441325" lvl="1" indent="0">
              <a:lnSpc>
                <a:spcPct val="100000"/>
              </a:lnSpc>
              <a:buFont typeface="Calibri" panose="020F0502020204030204" pitchFamily="34" charset="0"/>
              <a:buNone/>
            </a:pPr>
            <a:r>
              <a:rPr lang="en-US" altLang="de-DE" sz="2400" b="1" dirty="0">
                <a:solidFill>
                  <a:schemeClr val="bg2">
                    <a:lumMod val="10000"/>
                  </a:schemeClr>
                </a:solidFill>
              </a:rPr>
              <a:t>Investigate</a:t>
            </a:r>
            <a:r>
              <a:rPr lang="en-US" altLang="de-DE" sz="2400" dirty="0">
                <a:solidFill>
                  <a:schemeClr val="bg2">
                    <a:lumMod val="10000"/>
                  </a:schemeClr>
                </a:solidFill>
              </a:rPr>
              <a:t> effects of varying pre-treatment and process options</a:t>
            </a:r>
          </a:p>
          <a:p>
            <a:pPr marL="441325" lvl="1" indent="0">
              <a:lnSpc>
                <a:spcPct val="100000"/>
              </a:lnSpc>
              <a:buFont typeface="Calibri" panose="020F0502020204030204" pitchFamily="34" charset="0"/>
              <a:buNone/>
            </a:pPr>
            <a:endParaRPr lang="en-US" altLang="de-DE" sz="500" dirty="0">
              <a:solidFill>
                <a:schemeClr val="bg2">
                  <a:lumMod val="10000"/>
                </a:schemeClr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6003F41-E35C-3E4D-BC69-8E7E295378C7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>
                    <a14:imgEffect>
                      <a14:saturation sat="292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28" y="2204864"/>
            <a:ext cx="639316" cy="639316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88695F6-2B97-C240-B4AC-6333FE70212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28" y="1052736"/>
            <a:ext cx="639316" cy="63931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6FDF4E9-953B-7B4B-A525-EBC5232E25EB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8560" y="3140968"/>
            <a:ext cx="1778608" cy="1778608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B9A2C4BC-6E63-AE42-B399-324EE86A6203}"/>
              </a:ext>
            </a:extLst>
          </p:cNvPr>
          <p:cNvSpPr txBox="1"/>
          <p:nvPr/>
        </p:nvSpPr>
        <p:spPr>
          <a:xfrm>
            <a:off x="1019098" y="5241394"/>
            <a:ext cx="1502468" cy="705607"/>
          </a:xfrm>
          <a:prstGeom prst="rect">
            <a:avLst/>
          </a:prstGeom>
          <a:noFill/>
          <a:ln>
            <a:solidFill>
              <a:srgbClr val="27401F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latin typeface="Calibri" panose="020F0502020204030204" pitchFamily="34" charset="0"/>
                <a:cs typeface="Calibri" panose="020F0502020204030204" pitchFamily="34" charset="0"/>
              </a:rPr>
              <a:t>Fresh and stored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84022F1-B7B7-E142-BDB8-029AD8BDFCF3}"/>
              </a:ext>
            </a:extLst>
          </p:cNvPr>
          <p:cNvSpPr txBox="1"/>
          <p:nvPr/>
        </p:nvSpPr>
        <p:spPr>
          <a:xfrm>
            <a:off x="3597992" y="5241394"/>
            <a:ext cx="1872708" cy="707886"/>
          </a:xfrm>
          <a:prstGeom prst="rect">
            <a:avLst/>
          </a:prstGeom>
          <a:noFill/>
          <a:ln>
            <a:solidFill>
              <a:srgbClr val="27401F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latin typeface="Calibri" panose="020F0502020204030204" pitchFamily="34" charset="0"/>
                <a:cs typeface="Calibri" panose="020F0502020204030204" pitchFamily="34" charset="0"/>
              </a:rPr>
              <a:t>Screened and unscreened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E3DA38E-E1DE-0244-863A-AA9A600C3F60}"/>
              </a:ext>
            </a:extLst>
          </p:cNvPr>
          <p:cNvSpPr txBox="1"/>
          <p:nvPr/>
        </p:nvSpPr>
        <p:spPr>
          <a:xfrm>
            <a:off x="6547126" y="5241394"/>
            <a:ext cx="1725931" cy="707886"/>
          </a:xfrm>
          <a:prstGeom prst="rect">
            <a:avLst/>
          </a:prstGeom>
          <a:noFill/>
          <a:ln>
            <a:solidFill>
              <a:srgbClr val="27401F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latin typeface="Calibri" panose="020F0502020204030204" pitchFamily="34" charset="0"/>
                <a:cs typeface="Calibri" panose="020F0502020204030204" pitchFamily="34" charset="0"/>
              </a:rPr>
              <a:t>Stirred and unstirred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FC1FD10E-6CD2-DB42-B70C-8B18049D70FE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92000"/>
            <a:extLst>
              <a:ext uri="{BEBA8EAE-BF5A-486C-A8C5-ECC9F3942E4B}">
                <a14:imgProps xmlns:a14="http://schemas.microsoft.com/office/drawing/2010/main">
                  <a14:imgLayer>
                    <a14:imgEffect>
                      <a14:colorTemperature colorTemp="11200"/>
                    </a14:imgEffect>
                    <a14:imgEffect>
                      <a14:saturation sat="400000"/>
                    </a14:imgEffect>
                    <a14:imgEffect>
                      <a14:brightnessContrast bright="91000" contrast="-4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29951" y="3291927"/>
            <a:ext cx="1560279" cy="1560279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4963B39C-5EB6-534B-827B-507DF9C4BE47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duotone>
              <a:prstClr val="black"/>
              <a:srgbClr val="7030A0">
                <a:tint val="45000"/>
                <a:satMod val="400000"/>
              </a:srgbClr>
            </a:duotone>
          </a:blip>
          <a:srcRect b="16932"/>
          <a:stretch/>
        </p:blipFill>
        <p:spPr>
          <a:xfrm>
            <a:off x="817323" y="3351772"/>
            <a:ext cx="1906018" cy="1512168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0951BFCB-995C-FE44-A164-CF7A5844EB38}"/>
              </a:ext>
            </a:extLst>
          </p:cNvPr>
          <p:cNvSpPr txBox="1"/>
          <p:nvPr/>
        </p:nvSpPr>
        <p:spPr>
          <a:xfrm>
            <a:off x="510369" y="6453336"/>
            <a:ext cx="501488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chemeClr val="bg2">
                    <a:lumMod val="25000"/>
                  </a:schemeClr>
                </a:solidFill>
              </a:rPr>
              <a:t>Motivation - </a:t>
            </a:r>
            <a:r>
              <a:rPr lang="en-US" sz="1100" b="1" dirty="0">
                <a:solidFill>
                  <a:schemeClr val="bg2">
                    <a:lumMod val="25000"/>
                  </a:schemeClr>
                </a:solidFill>
              </a:rPr>
              <a:t>Objectives</a:t>
            </a:r>
            <a:r>
              <a:rPr lang="en-US" sz="1100" dirty="0">
                <a:solidFill>
                  <a:schemeClr val="bg2">
                    <a:lumMod val="25000"/>
                  </a:schemeClr>
                </a:solidFill>
              </a:rPr>
              <a:t> - Hypotheses - Methods  - Results - Discussion - Conclusion</a:t>
            </a:r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23576050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7C5A9C-4AD7-DB41-9AFA-5116767668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ypothes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03FD42E-9724-A341-9C7F-E6A755BFF9F9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marL="457200" lvl="0" indent="-457200">
              <a:buFont typeface="+mj-lt"/>
              <a:buAutoNum type="arabicPeriod"/>
            </a:pPr>
            <a:r>
              <a:rPr lang="en-US" b="1" dirty="0">
                <a:solidFill>
                  <a:schemeClr val="bg2">
                    <a:lumMod val="10000"/>
                  </a:schemeClr>
                </a:solidFill>
              </a:rPr>
              <a:t>Restricted Logistic Activity </a:t>
            </a:r>
            <a:r>
              <a:rPr lang="en-US" sz="1000" dirty="0">
                <a:solidFill>
                  <a:schemeClr val="bg2">
                    <a:lumMod val="10000"/>
                  </a:schemeClr>
                </a:solidFill>
              </a:rPr>
              <a:t>[1]</a:t>
            </a:r>
          </a:p>
          <a:p>
            <a:pPr marL="457200" lvl="0" indent="-457200">
              <a:buFont typeface="+mj-lt"/>
              <a:buAutoNum type="arabicPeriod"/>
            </a:pPr>
            <a:endParaRPr lang="en-US" dirty="0">
              <a:solidFill>
                <a:schemeClr val="bg2">
                  <a:lumMod val="10000"/>
                </a:schemeClr>
              </a:solidFill>
            </a:endParaRPr>
          </a:p>
          <a:p>
            <a:pPr marL="457200" lvl="0" indent="-457200">
              <a:buFont typeface="+mj-lt"/>
              <a:buAutoNum type="arabicPeriod"/>
            </a:pPr>
            <a:endParaRPr lang="en-US" dirty="0">
              <a:solidFill>
                <a:schemeClr val="bg2">
                  <a:lumMod val="10000"/>
                </a:schemeClr>
              </a:solidFill>
            </a:endParaRPr>
          </a:p>
          <a:p>
            <a:pPr marL="457200" lvl="0" indent="-457200">
              <a:buFont typeface="+mj-lt"/>
              <a:buAutoNum type="arabicPeriod"/>
            </a:pPr>
            <a:endParaRPr lang="en-US" dirty="0">
              <a:solidFill>
                <a:schemeClr val="bg2">
                  <a:lumMod val="10000"/>
                </a:schemeClr>
              </a:solidFill>
            </a:endParaRPr>
          </a:p>
          <a:p>
            <a:pPr marL="457200" lvl="0" indent="-457200">
              <a:lnSpc>
                <a:spcPct val="200000"/>
              </a:lnSpc>
              <a:buFont typeface="+mj-lt"/>
              <a:buAutoNum type="arabicPeriod"/>
            </a:pPr>
            <a:r>
              <a:rPr lang="en-US" b="1" dirty="0">
                <a:solidFill>
                  <a:schemeClr val="bg2">
                    <a:lumMod val="10000"/>
                  </a:schemeClr>
                </a:solidFill>
              </a:rPr>
              <a:t>Minimal Effect of Storage</a:t>
            </a:r>
            <a:r>
              <a:rPr lang="en-US" dirty="0">
                <a:solidFill>
                  <a:schemeClr val="bg2">
                    <a:lumMod val="10000"/>
                  </a:schemeClr>
                </a:solidFill>
              </a:rPr>
              <a:t> </a:t>
            </a:r>
            <a:r>
              <a:rPr lang="en-US" sz="1000" dirty="0">
                <a:solidFill>
                  <a:schemeClr val="bg2">
                    <a:lumMod val="10000"/>
                  </a:schemeClr>
                </a:solidFill>
              </a:rPr>
              <a:t>[2]</a:t>
            </a:r>
          </a:p>
          <a:p>
            <a:pPr marL="457200" lvl="0" indent="-457200">
              <a:lnSpc>
                <a:spcPct val="200000"/>
              </a:lnSpc>
              <a:buFont typeface="+mj-lt"/>
              <a:buAutoNum type="arabicPeriod"/>
            </a:pPr>
            <a:r>
              <a:rPr lang="en-US" b="1" dirty="0">
                <a:solidFill>
                  <a:schemeClr val="bg2">
                    <a:lumMod val="10000"/>
                  </a:schemeClr>
                </a:solidFill>
              </a:rPr>
              <a:t>Screening Increases Gas Yield </a:t>
            </a:r>
            <a:r>
              <a:rPr lang="en-US" sz="1000" dirty="0">
                <a:solidFill>
                  <a:schemeClr val="bg2">
                    <a:lumMod val="10000"/>
                  </a:schemeClr>
                </a:solidFill>
              </a:rPr>
              <a:t>[3]</a:t>
            </a:r>
          </a:p>
          <a:p>
            <a:pPr marL="457200" lvl="0" indent="-457200">
              <a:lnSpc>
                <a:spcPct val="200000"/>
              </a:lnSpc>
              <a:buFont typeface="+mj-lt"/>
              <a:buAutoNum type="arabicPeriod"/>
            </a:pPr>
            <a:r>
              <a:rPr lang="en-US" b="1" dirty="0">
                <a:solidFill>
                  <a:schemeClr val="bg2">
                    <a:lumMod val="10000"/>
                  </a:schemeClr>
                </a:solidFill>
              </a:rPr>
              <a:t>Little Effect of Stirring</a:t>
            </a:r>
            <a:r>
              <a:rPr lang="en-US" dirty="0">
                <a:solidFill>
                  <a:schemeClr val="bg2">
                    <a:lumMod val="10000"/>
                  </a:schemeClr>
                </a:solidFill>
              </a:rPr>
              <a:t> </a:t>
            </a:r>
            <a:r>
              <a:rPr lang="en-US" sz="1000" dirty="0">
                <a:solidFill>
                  <a:schemeClr val="bg2">
                    <a:lumMod val="10000"/>
                  </a:schemeClr>
                </a:solidFill>
              </a:rPr>
              <a:t>[4; 5; 6]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1895D3C-72B4-6042-AD7E-E01700EFA71B}"/>
              </a:ext>
            </a:extLst>
          </p:cNvPr>
          <p:cNvSpPr txBox="1"/>
          <p:nvPr/>
        </p:nvSpPr>
        <p:spPr>
          <a:xfrm>
            <a:off x="5004048" y="980727"/>
            <a:ext cx="282919" cy="36273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p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E87FEAA-1C64-D44C-8F83-4F8531F1D1A2}"/>
              </a:ext>
            </a:extLst>
          </p:cNvPr>
          <p:cNvSpPr txBox="1"/>
          <p:nvPr/>
        </p:nvSpPr>
        <p:spPr>
          <a:xfrm>
            <a:off x="7514368" y="2778231"/>
            <a:ext cx="229738" cy="36273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t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095141E-8F98-AD43-B4DB-3A2369FE0581}"/>
              </a:ext>
            </a:extLst>
          </p:cNvPr>
          <p:cNvCxnSpPr/>
          <p:nvPr/>
        </p:nvCxnSpPr>
        <p:spPr bwMode="auto">
          <a:xfrm>
            <a:off x="5330390" y="980727"/>
            <a:ext cx="0" cy="1745750"/>
          </a:xfrm>
          <a:prstGeom prst="line">
            <a:avLst/>
          </a:prstGeom>
          <a:solidFill>
            <a:schemeClr val="tx2"/>
          </a:solidFill>
          <a:ln w="22225" cap="flat" cmpd="sng" algn="ctr">
            <a:solidFill>
              <a:schemeClr val="accent1"/>
            </a:solidFill>
            <a:prstDash val="solid"/>
            <a:round/>
            <a:headEnd type="arrow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66C5994-A811-D34C-AFE5-197F9BC35588}"/>
              </a:ext>
            </a:extLst>
          </p:cNvPr>
          <p:cNvCxnSpPr>
            <a:cxnSpLocks/>
          </p:cNvCxnSpPr>
          <p:nvPr/>
        </p:nvCxnSpPr>
        <p:spPr bwMode="auto">
          <a:xfrm flipH="1">
            <a:off x="5330390" y="2726477"/>
            <a:ext cx="2481970" cy="0"/>
          </a:xfrm>
          <a:prstGeom prst="line">
            <a:avLst/>
          </a:prstGeom>
          <a:solidFill>
            <a:schemeClr val="tx2"/>
          </a:solidFill>
          <a:ln w="22225" cap="flat" cmpd="sng" algn="ctr">
            <a:solidFill>
              <a:schemeClr val="accent1"/>
            </a:solidFill>
            <a:prstDash val="solid"/>
            <a:round/>
            <a:headEnd type="arrow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" name="Freeform 8">
            <a:extLst>
              <a:ext uri="{FF2B5EF4-FFF2-40B4-BE49-F238E27FC236}">
                <a16:creationId xmlns:a16="http://schemas.microsoft.com/office/drawing/2014/main" id="{26F67622-E192-CC4C-A1AC-6D64F0C72170}"/>
              </a:ext>
            </a:extLst>
          </p:cNvPr>
          <p:cNvSpPr/>
          <p:nvPr/>
        </p:nvSpPr>
        <p:spPr>
          <a:xfrm>
            <a:off x="5334648" y="1124744"/>
            <a:ext cx="2261688" cy="1598403"/>
          </a:xfrm>
          <a:custGeom>
            <a:avLst/>
            <a:gdLst>
              <a:gd name="connsiteX0" fmla="*/ 0 w 2070847"/>
              <a:gd name="connsiteY0" fmla="*/ 1418664 h 1418664"/>
              <a:gd name="connsiteX1" fmla="*/ 47065 w 2070847"/>
              <a:gd name="connsiteY1" fmla="*/ 1411941 h 1418664"/>
              <a:gd name="connsiteX2" fmla="*/ 114300 w 2070847"/>
              <a:gd name="connsiteY2" fmla="*/ 1385047 h 1418664"/>
              <a:gd name="connsiteX3" fmla="*/ 154641 w 2070847"/>
              <a:gd name="connsiteY3" fmla="*/ 1371600 h 1418664"/>
              <a:gd name="connsiteX4" fmla="*/ 174812 w 2070847"/>
              <a:gd name="connsiteY4" fmla="*/ 1364876 h 1418664"/>
              <a:gd name="connsiteX5" fmla="*/ 215153 w 2070847"/>
              <a:gd name="connsiteY5" fmla="*/ 1344705 h 1418664"/>
              <a:gd name="connsiteX6" fmla="*/ 235324 w 2070847"/>
              <a:gd name="connsiteY6" fmla="*/ 1331258 h 1418664"/>
              <a:gd name="connsiteX7" fmla="*/ 275665 w 2070847"/>
              <a:gd name="connsiteY7" fmla="*/ 1317811 h 1418664"/>
              <a:gd name="connsiteX8" fmla="*/ 295835 w 2070847"/>
              <a:gd name="connsiteY8" fmla="*/ 1311088 h 1418664"/>
              <a:gd name="connsiteX9" fmla="*/ 322729 w 2070847"/>
              <a:gd name="connsiteY9" fmla="*/ 1297641 h 1418664"/>
              <a:gd name="connsiteX10" fmla="*/ 363071 w 2070847"/>
              <a:gd name="connsiteY10" fmla="*/ 1284194 h 1418664"/>
              <a:gd name="connsiteX11" fmla="*/ 383241 w 2070847"/>
              <a:gd name="connsiteY11" fmla="*/ 1277470 h 1418664"/>
              <a:gd name="connsiteX12" fmla="*/ 423582 w 2070847"/>
              <a:gd name="connsiteY12" fmla="*/ 1257300 h 1418664"/>
              <a:gd name="connsiteX13" fmla="*/ 484094 w 2070847"/>
              <a:gd name="connsiteY13" fmla="*/ 1216958 h 1418664"/>
              <a:gd name="connsiteX14" fmla="*/ 504265 w 2070847"/>
              <a:gd name="connsiteY14" fmla="*/ 1203511 h 1418664"/>
              <a:gd name="connsiteX15" fmla="*/ 524435 w 2070847"/>
              <a:gd name="connsiteY15" fmla="*/ 1183341 h 1418664"/>
              <a:gd name="connsiteX16" fmla="*/ 564776 w 2070847"/>
              <a:gd name="connsiteY16" fmla="*/ 1149723 h 1418664"/>
              <a:gd name="connsiteX17" fmla="*/ 591671 w 2070847"/>
              <a:gd name="connsiteY17" fmla="*/ 1109382 h 1418664"/>
              <a:gd name="connsiteX18" fmla="*/ 632012 w 2070847"/>
              <a:gd name="connsiteY18" fmla="*/ 1048870 h 1418664"/>
              <a:gd name="connsiteX19" fmla="*/ 645459 w 2070847"/>
              <a:gd name="connsiteY19" fmla="*/ 1028700 h 1418664"/>
              <a:gd name="connsiteX20" fmla="*/ 658906 w 2070847"/>
              <a:gd name="connsiteY20" fmla="*/ 1008529 h 1418664"/>
              <a:gd name="connsiteX21" fmla="*/ 665629 w 2070847"/>
              <a:gd name="connsiteY21" fmla="*/ 988358 h 1418664"/>
              <a:gd name="connsiteX22" fmla="*/ 679076 w 2070847"/>
              <a:gd name="connsiteY22" fmla="*/ 968188 h 1418664"/>
              <a:gd name="connsiteX23" fmla="*/ 692524 w 2070847"/>
              <a:gd name="connsiteY23" fmla="*/ 941294 h 1418664"/>
              <a:gd name="connsiteX24" fmla="*/ 705971 w 2070847"/>
              <a:gd name="connsiteY24" fmla="*/ 894229 h 1418664"/>
              <a:gd name="connsiteX25" fmla="*/ 719418 w 2070847"/>
              <a:gd name="connsiteY25" fmla="*/ 874058 h 1418664"/>
              <a:gd name="connsiteX26" fmla="*/ 732865 w 2070847"/>
              <a:gd name="connsiteY26" fmla="*/ 820270 h 1418664"/>
              <a:gd name="connsiteX27" fmla="*/ 739588 w 2070847"/>
              <a:gd name="connsiteY27" fmla="*/ 800100 h 1418664"/>
              <a:gd name="connsiteX28" fmla="*/ 746312 w 2070847"/>
              <a:gd name="connsiteY28" fmla="*/ 773205 h 1418664"/>
              <a:gd name="connsiteX29" fmla="*/ 753035 w 2070847"/>
              <a:gd name="connsiteY29" fmla="*/ 753035 h 1418664"/>
              <a:gd name="connsiteX30" fmla="*/ 759759 w 2070847"/>
              <a:gd name="connsiteY30" fmla="*/ 726141 h 1418664"/>
              <a:gd name="connsiteX31" fmla="*/ 766482 w 2070847"/>
              <a:gd name="connsiteY31" fmla="*/ 705970 h 1418664"/>
              <a:gd name="connsiteX32" fmla="*/ 779929 w 2070847"/>
              <a:gd name="connsiteY32" fmla="*/ 652182 h 1418664"/>
              <a:gd name="connsiteX33" fmla="*/ 786653 w 2070847"/>
              <a:gd name="connsiteY33" fmla="*/ 632011 h 1418664"/>
              <a:gd name="connsiteX34" fmla="*/ 800100 w 2070847"/>
              <a:gd name="connsiteY34" fmla="*/ 578223 h 1418664"/>
              <a:gd name="connsiteX35" fmla="*/ 813547 w 2070847"/>
              <a:gd name="connsiteY35" fmla="*/ 531158 h 1418664"/>
              <a:gd name="connsiteX36" fmla="*/ 820271 w 2070847"/>
              <a:gd name="connsiteY36" fmla="*/ 510988 h 1418664"/>
              <a:gd name="connsiteX37" fmla="*/ 833718 w 2070847"/>
              <a:gd name="connsiteY37" fmla="*/ 457200 h 1418664"/>
              <a:gd name="connsiteX38" fmla="*/ 853888 w 2070847"/>
              <a:gd name="connsiteY38" fmla="*/ 376517 h 1418664"/>
              <a:gd name="connsiteX39" fmla="*/ 860612 w 2070847"/>
              <a:gd name="connsiteY39" fmla="*/ 356347 h 1418664"/>
              <a:gd name="connsiteX40" fmla="*/ 867335 w 2070847"/>
              <a:gd name="connsiteY40" fmla="*/ 336176 h 1418664"/>
              <a:gd name="connsiteX41" fmla="*/ 900953 w 2070847"/>
              <a:gd name="connsiteY41" fmla="*/ 295835 h 1418664"/>
              <a:gd name="connsiteX42" fmla="*/ 927847 w 2070847"/>
              <a:gd name="connsiteY42" fmla="*/ 255494 h 1418664"/>
              <a:gd name="connsiteX43" fmla="*/ 954741 w 2070847"/>
              <a:gd name="connsiteY43" fmla="*/ 235323 h 1418664"/>
              <a:gd name="connsiteX44" fmla="*/ 988359 w 2070847"/>
              <a:gd name="connsiteY44" fmla="*/ 201705 h 1418664"/>
              <a:gd name="connsiteX45" fmla="*/ 1015253 w 2070847"/>
              <a:gd name="connsiteY45" fmla="*/ 181535 h 1418664"/>
              <a:gd name="connsiteX46" fmla="*/ 1055594 w 2070847"/>
              <a:gd name="connsiteY46" fmla="*/ 154641 h 1418664"/>
              <a:gd name="connsiteX47" fmla="*/ 1095935 w 2070847"/>
              <a:gd name="connsiteY47" fmla="*/ 127747 h 1418664"/>
              <a:gd name="connsiteX48" fmla="*/ 1163171 w 2070847"/>
              <a:gd name="connsiteY48" fmla="*/ 107576 h 1418664"/>
              <a:gd name="connsiteX49" fmla="*/ 1183341 w 2070847"/>
              <a:gd name="connsiteY49" fmla="*/ 100853 h 1418664"/>
              <a:gd name="connsiteX50" fmla="*/ 1223682 w 2070847"/>
              <a:gd name="connsiteY50" fmla="*/ 94129 h 1418664"/>
              <a:gd name="connsiteX51" fmla="*/ 1257300 w 2070847"/>
              <a:gd name="connsiteY51" fmla="*/ 87405 h 1418664"/>
              <a:gd name="connsiteX52" fmla="*/ 1311088 w 2070847"/>
              <a:gd name="connsiteY52" fmla="*/ 80682 h 1418664"/>
              <a:gd name="connsiteX53" fmla="*/ 1378324 w 2070847"/>
              <a:gd name="connsiteY53" fmla="*/ 67235 h 1418664"/>
              <a:gd name="connsiteX54" fmla="*/ 1405218 w 2070847"/>
              <a:gd name="connsiteY54" fmla="*/ 60511 h 1418664"/>
              <a:gd name="connsiteX55" fmla="*/ 1492624 w 2070847"/>
              <a:gd name="connsiteY55" fmla="*/ 47064 h 1418664"/>
              <a:gd name="connsiteX56" fmla="*/ 1519518 w 2070847"/>
              <a:gd name="connsiteY56" fmla="*/ 40341 h 1418664"/>
              <a:gd name="connsiteX57" fmla="*/ 1862418 w 2070847"/>
              <a:gd name="connsiteY57" fmla="*/ 26894 h 1418664"/>
              <a:gd name="connsiteX58" fmla="*/ 2003612 w 2070847"/>
              <a:gd name="connsiteY58" fmla="*/ 13447 h 1418664"/>
              <a:gd name="connsiteX59" fmla="*/ 2070847 w 2070847"/>
              <a:gd name="connsiteY59" fmla="*/ 0 h 14186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</a:cxnLst>
            <a:rect l="l" t="t" r="r" b="b"/>
            <a:pathLst>
              <a:path w="2070847" h="1418664">
                <a:moveTo>
                  <a:pt x="0" y="1418664"/>
                </a:moveTo>
                <a:cubicBezTo>
                  <a:pt x="15688" y="1416423"/>
                  <a:pt x="31623" y="1415504"/>
                  <a:pt x="47065" y="1411941"/>
                </a:cubicBezTo>
                <a:cubicBezTo>
                  <a:pt x="99770" y="1399779"/>
                  <a:pt x="72709" y="1401683"/>
                  <a:pt x="114300" y="1385047"/>
                </a:cubicBezTo>
                <a:cubicBezTo>
                  <a:pt x="127461" y="1379783"/>
                  <a:pt x="141194" y="1376082"/>
                  <a:pt x="154641" y="1371600"/>
                </a:cubicBezTo>
                <a:cubicBezTo>
                  <a:pt x="161365" y="1369359"/>
                  <a:pt x="168915" y="1368807"/>
                  <a:pt x="174812" y="1364876"/>
                </a:cubicBezTo>
                <a:cubicBezTo>
                  <a:pt x="232610" y="1326343"/>
                  <a:pt x="159485" y="1372539"/>
                  <a:pt x="215153" y="1344705"/>
                </a:cubicBezTo>
                <a:cubicBezTo>
                  <a:pt x="222381" y="1341091"/>
                  <a:pt x="227940" y="1334540"/>
                  <a:pt x="235324" y="1331258"/>
                </a:cubicBezTo>
                <a:cubicBezTo>
                  <a:pt x="248277" y="1325501"/>
                  <a:pt x="262218" y="1322293"/>
                  <a:pt x="275665" y="1317811"/>
                </a:cubicBezTo>
                <a:cubicBezTo>
                  <a:pt x="282388" y="1315570"/>
                  <a:pt x="289496" y="1314257"/>
                  <a:pt x="295835" y="1311088"/>
                </a:cubicBezTo>
                <a:cubicBezTo>
                  <a:pt x="304800" y="1306606"/>
                  <a:pt x="313423" y="1301363"/>
                  <a:pt x="322729" y="1297641"/>
                </a:cubicBezTo>
                <a:cubicBezTo>
                  <a:pt x="335890" y="1292377"/>
                  <a:pt x="349624" y="1288677"/>
                  <a:pt x="363071" y="1284194"/>
                </a:cubicBezTo>
                <a:cubicBezTo>
                  <a:pt x="369794" y="1281953"/>
                  <a:pt x="377344" y="1281401"/>
                  <a:pt x="383241" y="1277470"/>
                </a:cubicBezTo>
                <a:cubicBezTo>
                  <a:pt x="409309" y="1260092"/>
                  <a:pt x="395746" y="1266578"/>
                  <a:pt x="423582" y="1257300"/>
                </a:cubicBezTo>
                <a:lnTo>
                  <a:pt x="484094" y="1216958"/>
                </a:lnTo>
                <a:cubicBezTo>
                  <a:pt x="490818" y="1212476"/>
                  <a:pt x="498551" y="1209225"/>
                  <a:pt x="504265" y="1203511"/>
                </a:cubicBezTo>
                <a:cubicBezTo>
                  <a:pt x="510988" y="1196788"/>
                  <a:pt x="517131" y="1189428"/>
                  <a:pt x="524435" y="1183341"/>
                </a:cubicBezTo>
                <a:cubicBezTo>
                  <a:pt x="548974" y="1162892"/>
                  <a:pt x="543062" y="1177641"/>
                  <a:pt x="564776" y="1149723"/>
                </a:cubicBezTo>
                <a:cubicBezTo>
                  <a:pt x="574698" y="1136966"/>
                  <a:pt x="582706" y="1122829"/>
                  <a:pt x="591671" y="1109382"/>
                </a:cubicBezTo>
                <a:lnTo>
                  <a:pt x="632012" y="1048870"/>
                </a:lnTo>
                <a:lnTo>
                  <a:pt x="645459" y="1028700"/>
                </a:lnTo>
                <a:lnTo>
                  <a:pt x="658906" y="1008529"/>
                </a:lnTo>
                <a:cubicBezTo>
                  <a:pt x="661147" y="1001805"/>
                  <a:pt x="662460" y="994697"/>
                  <a:pt x="665629" y="988358"/>
                </a:cubicBezTo>
                <a:cubicBezTo>
                  <a:pt x="669243" y="981131"/>
                  <a:pt x="675067" y="975204"/>
                  <a:pt x="679076" y="968188"/>
                </a:cubicBezTo>
                <a:cubicBezTo>
                  <a:pt x="684049" y="959486"/>
                  <a:pt x="688041" y="950259"/>
                  <a:pt x="692524" y="941294"/>
                </a:cubicBezTo>
                <a:cubicBezTo>
                  <a:pt x="694679" y="932672"/>
                  <a:pt x="701146" y="903878"/>
                  <a:pt x="705971" y="894229"/>
                </a:cubicBezTo>
                <a:cubicBezTo>
                  <a:pt x="709585" y="887001"/>
                  <a:pt x="714936" y="880782"/>
                  <a:pt x="719418" y="874058"/>
                </a:cubicBezTo>
                <a:cubicBezTo>
                  <a:pt x="723900" y="856129"/>
                  <a:pt x="727021" y="837803"/>
                  <a:pt x="732865" y="820270"/>
                </a:cubicBezTo>
                <a:cubicBezTo>
                  <a:pt x="735106" y="813547"/>
                  <a:pt x="737641" y="806914"/>
                  <a:pt x="739588" y="800100"/>
                </a:cubicBezTo>
                <a:cubicBezTo>
                  <a:pt x="742127" y="791215"/>
                  <a:pt x="743773" y="782090"/>
                  <a:pt x="746312" y="773205"/>
                </a:cubicBezTo>
                <a:cubicBezTo>
                  <a:pt x="748259" y="766391"/>
                  <a:pt x="751088" y="759849"/>
                  <a:pt x="753035" y="753035"/>
                </a:cubicBezTo>
                <a:cubicBezTo>
                  <a:pt x="755574" y="744150"/>
                  <a:pt x="757220" y="735026"/>
                  <a:pt x="759759" y="726141"/>
                </a:cubicBezTo>
                <a:cubicBezTo>
                  <a:pt x="761706" y="719326"/>
                  <a:pt x="764617" y="712808"/>
                  <a:pt x="766482" y="705970"/>
                </a:cubicBezTo>
                <a:cubicBezTo>
                  <a:pt x="771345" y="688140"/>
                  <a:pt x="774084" y="669715"/>
                  <a:pt x="779929" y="652182"/>
                </a:cubicBezTo>
                <a:cubicBezTo>
                  <a:pt x="782170" y="645458"/>
                  <a:pt x="784788" y="638849"/>
                  <a:pt x="786653" y="632011"/>
                </a:cubicBezTo>
                <a:cubicBezTo>
                  <a:pt x="791516" y="614181"/>
                  <a:pt x="794255" y="595756"/>
                  <a:pt x="800100" y="578223"/>
                </a:cubicBezTo>
                <a:cubicBezTo>
                  <a:pt x="816222" y="529863"/>
                  <a:pt x="796662" y="590255"/>
                  <a:pt x="813547" y="531158"/>
                </a:cubicBezTo>
                <a:cubicBezTo>
                  <a:pt x="815494" y="524344"/>
                  <a:pt x="818552" y="517863"/>
                  <a:pt x="820271" y="510988"/>
                </a:cubicBezTo>
                <a:lnTo>
                  <a:pt x="833718" y="457200"/>
                </a:lnTo>
                <a:cubicBezTo>
                  <a:pt x="842770" y="402880"/>
                  <a:pt x="836131" y="429788"/>
                  <a:pt x="853888" y="376517"/>
                </a:cubicBezTo>
                <a:lnTo>
                  <a:pt x="860612" y="356347"/>
                </a:lnTo>
                <a:cubicBezTo>
                  <a:pt x="862853" y="349623"/>
                  <a:pt x="863404" y="342073"/>
                  <a:pt x="867335" y="336176"/>
                </a:cubicBezTo>
                <a:cubicBezTo>
                  <a:pt x="915382" y="264104"/>
                  <a:pt x="840561" y="373480"/>
                  <a:pt x="900953" y="295835"/>
                </a:cubicBezTo>
                <a:cubicBezTo>
                  <a:pt x="910875" y="283078"/>
                  <a:pt x="914918" y="265191"/>
                  <a:pt x="927847" y="255494"/>
                </a:cubicBezTo>
                <a:cubicBezTo>
                  <a:pt x="936812" y="248770"/>
                  <a:pt x="946366" y="242768"/>
                  <a:pt x="954741" y="235323"/>
                </a:cubicBezTo>
                <a:cubicBezTo>
                  <a:pt x="966586" y="224794"/>
                  <a:pt x="975681" y="211213"/>
                  <a:pt x="988359" y="201705"/>
                </a:cubicBezTo>
                <a:cubicBezTo>
                  <a:pt x="997324" y="194982"/>
                  <a:pt x="1006745" y="188828"/>
                  <a:pt x="1015253" y="181535"/>
                </a:cubicBezTo>
                <a:cubicBezTo>
                  <a:pt x="1047303" y="154063"/>
                  <a:pt x="1021284" y="166077"/>
                  <a:pt x="1055594" y="154641"/>
                </a:cubicBezTo>
                <a:cubicBezTo>
                  <a:pt x="1069041" y="145676"/>
                  <a:pt x="1080603" y="132858"/>
                  <a:pt x="1095935" y="127747"/>
                </a:cubicBezTo>
                <a:cubicBezTo>
                  <a:pt x="1191783" y="95798"/>
                  <a:pt x="1092053" y="127895"/>
                  <a:pt x="1163171" y="107576"/>
                </a:cubicBezTo>
                <a:cubicBezTo>
                  <a:pt x="1169985" y="105629"/>
                  <a:pt x="1176423" y="102390"/>
                  <a:pt x="1183341" y="100853"/>
                </a:cubicBezTo>
                <a:cubicBezTo>
                  <a:pt x="1196649" y="97896"/>
                  <a:pt x="1210269" y="96568"/>
                  <a:pt x="1223682" y="94129"/>
                </a:cubicBezTo>
                <a:cubicBezTo>
                  <a:pt x="1234926" y="92085"/>
                  <a:pt x="1246005" y="89143"/>
                  <a:pt x="1257300" y="87405"/>
                </a:cubicBezTo>
                <a:cubicBezTo>
                  <a:pt x="1275159" y="84658"/>
                  <a:pt x="1293265" y="83652"/>
                  <a:pt x="1311088" y="80682"/>
                </a:cubicBezTo>
                <a:cubicBezTo>
                  <a:pt x="1333633" y="76925"/>
                  <a:pt x="1356151" y="72779"/>
                  <a:pt x="1378324" y="67235"/>
                </a:cubicBezTo>
                <a:cubicBezTo>
                  <a:pt x="1387289" y="64994"/>
                  <a:pt x="1396126" y="62164"/>
                  <a:pt x="1405218" y="60511"/>
                </a:cubicBezTo>
                <a:cubicBezTo>
                  <a:pt x="1476339" y="47580"/>
                  <a:pt x="1427565" y="60076"/>
                  <a:pt x="1492624" y="47064"/>
                </a:cubicBezTo>
                <a:cubicBezTo>
                  <a:pt x="1501685" y="45252"/>
                  <a:pt x="1510370" y="41648"/>
                  <a:pt x="1519518" y="40341"/>
                </a:cubicBezTo>
                <a:cubicBezTo>
                  <a:pt x="1620813" y="25870"/>
                  <a:pt x="1798476" y="28453"/>
                  <a:pt x="1862418" y="26894"/>
                </a:cubicBezTo>
                <a:cubicBezTo>
                  <a:pt x="1961392" y="12754"/>
                  <a:pt x="1852447" y="27189"/>
                  <a:pt x="2003612" y="13447"/>
                </a:cubicBezTo>
                <a:cubicBezTo>
                  <a:pt x="2057474" y="8550"/>
                  <a:pt x="2042597" y="14124"/>
                  <a:pt x="2070847" y="0"/>
                </a:cubicBezTo>
              </a:path>
            </a:pathLst>
          </a:cu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49D5FB7C-E4AF-4349-8C52-8C19C986A4A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86535" y="3032582"/>
            <a:ext cx="863352" cy="863352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A3536AA7-61B9-7D4C-A4FB-6250D67F327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5400000">
            <a:off x="5387032" y="3911139"/>
            <a:ext cx="1020398" cy="1020398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9B87D3EB-00DE-804B-89A9-F8F4E229CD3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68813" y="4946742"/>
            <a:ext cx="856837" cy="856837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39163F01-F744-B64D-AE21-1C9DD98CF673}"/>
              </a:ext>
            </a:extLst>
          </p:cNvPr>
          <p:cNvSpPr txBox="1"/>
          <p:nvPr/>
        </p:nvSpPr>
        <p:spPr>
          <a:xfrm>
            <a:off x="510369" y="6453336"/>
            <a:ext cx="501488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chemeClr val="bg2">
                    <a:lumMod val="25000"/>
                  </a:schemeClr>
                </a:solidFill>
              </a:rPr>
              <a:t>Motivation - Objectives - </a:t>
            </a:r>
            <a:r>
              <a:rPr lang="en-US" sz="1100" b="1" dirty="0">
                <a:solidFill>
                  <a:schemeClr val="bg2">
                    <a:lumMod val="25000"/>
                  </a:schemeClr>
                </a:solidFill>
              </a:rPr>
              <a:t>Hypotheses</a:t>
            </a:r>
            <a:r>
              <a:rPr lang="en-US" sz="1100" dirty="0">
                <a:solidFill>
                  <a:schemeClr val="bg2">
                    <a:lumMod val="25000"/>
                  </a:schemeClr>
                </a:solidFill>
              </a:rPr>
              <a:t> - Methods  - Results - Discussion - Conclusion</a:t>
            </a:r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341297867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E7E075-96A8-0047-98AD-EB07DCDE94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thod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6C76ED-1B0A-3B47-9714-7916AF9E8F78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77200" y="1004400"/>
            <a:ext cx="8327248" cy="5234400"/>
          </a:xfrm>
        </p:spPr>
        <p:txBody>
          <a:bodyPr>
            <a:normAutofit/>
          </a:bodyPr>
          <a:lstStyle/>
          <a:p>
            <a:r>
              <a:rPr lang="en-US" dirty="0"/>
              <a:t>OxiTop measuring system</a:t>
            </a:r>
          </a:p>
          <a:p>
            <a:r>
              <a:rPr lang="en-US" dirty="0"/>
              <a:t>Flushed with N</a:t>
            </a:r>
            <a:r>
              <a:rPr lang="en-US" baseline="-25000" dirty="0"/>
              <a:t>2</a:t>
            </a:r>
            <a:r>
              <a:rPr lang="en-US" dirty="0"/>
              <a:t> for anaerobic environment</a:t>
            </a:r>
          </a:p>
          <a:p>
            <a:r>
              <a:rPr lang="en-US" dirty="0"/>
              <a:t>Placed in climatic chamber at 37°C</a:t>
            </a:r>
          </a:p>
          <a:p>
            <a:r>
              <a:rPr lang="en-US" dirty="0"/>
              <a:t>Maximum pressure </a:t>
            </a:r>
            <a:r>
              <a:rPr lang="en-US" dirty="0">
                <a:sym typeface="Wingdings" pitchFamily="2" charset="2"/>
              </a:rPr>
              <a:t> m</a:t>
            </a:r>
            <a:r>
              <a:rPr lang="en-US" dirty="0"/>
              <a:t>anual pressure releases</a:t>
            </a:r>
          </a:p>
          <a:p>
            <a:endParaRPr lang="en-US" sz="2400" dirty="0"/>
          </a:p>
          <a:p>
            <a:r>
              <a:rPr lang="en-US" dirty="0"/>
              <a:t>Analyzed parameters: </a:t>
            </a:r>
          </a:p>
          <a:p>
            <a:pPr lvl="1">
              <a:buFont typeface="Wingdings" pitchFamily="2" charset="2"/>
              <a:buChar char="§"/>
            </a:pPr>
            <a:r>
              <a:rPr lang="en-US" sz="2200" dirty="0"/>
              <a:t>Dry substance</a:t>
            </a:r>
          </a:p>
          <a:p>
            <a:pPr lvl="1">
              <a:buFont typeface="Wingdings" pitchFamily="2" charset="2"/>
              <a:buChar char="§"/>
            </a:pPr>
            <a:r>
              <a:rPr lang="en-US" sz="2200" dirty="0"/>
              <a:t>Organic dry substance</a:t>
            </a:r>
          </a:p>
          <a:p>
            <a:pPr lvl="1">
              <a:buFont typeface="Wingdings" pitchFamily="2" charset="2"/>
              <a:buChar char="§"/>
            </a:pPr>
            <a:r>
              <a:rPr lang="en-US" sz="2200" dirty="0"/>
              <a:t>C/N ratio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C0C9F95-C76F-4B4E-BB7E-44CFB7034811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1413" t="16401" r="10625" b="13250"/>
          <a:stretch/>
        </p:blipFill>
        <p:spPr>
          <a:xfrm>
            <a:off x="4086397" y="3284984"/>
            <a:ext cx="4086003" cy="276527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42EA2286-749D-424E-94FD-52CC1D051056}"/>
              </a:ext>
            </a:extLst>
          </p:cNvPr>
          <p:cNvSpPr txBox="1"/>
          <p:nvPr/>
        </p:nvSpPr>
        <p:spPr>
          <a:xfrm>
            <a:off x="510369" y="6453336"/>
            <a:ext cx="501488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chemeClr val="bg2">
                    <a:lumMod val="25000"/>
                  </a:schemeClr>
                </a:solidFill>
              </a:rPr>
              <a:t>Motivation - Objectives - Hypotheses - </a:t>
            </a:r>
            <a:r>
              <a:rPr lang="en-US" sz="1100" b="1" dirty="0">
                <a:solidFill>
                  <a:schemeClr val="bg2">
                    <a:lumMod val="25000"/>
                  </a:schemeClr>
                </a:solidFill>
              </a:rPr>
              <a:t>Methods</a:t>
            </a:r>
            <a:r>
              <a:rPr lang="en-US" sz="1100" dirty="0">
                <a:solidFill>
                  <a:schemeClr val="bg2">
                    <a:lumMod val="25000"/>
                  </a:schemeClr>
                </a:solidFill>
              </a:rPr>
              <a:t>  - Results - Discussion - Conclusion</a:t>
            </a:r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88727703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F8D955-0308-6B45-A93C-55D8D69384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ults – Sewage Sludge</a:t>
            </a:r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A824317B-0B60-9241-97E7-8C60DE5167A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20129854"/>
              </p:ext>
            </p:extLst>
          </p:nvPr>
        </p:nvGraphicFramePr>
        <p:xfrm>
          <a:off x="251520" y="1004400"/>
          <a:ext cx="8352928" cy="54489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F07D6CF5-CDF5-A94B-B849-F7D98347E3CA}"/>
              </a:ext>
            </a:extLst>
          </p:cNvPr>
          <p:cNvSpPr txBox="1"/>
          <p:nvPr/>
        </p:nvSpPr>
        <p:spPr>
          <a:xfrm>
            <a:off x="510369" y="6453336"/>
            <a:ext cx="501488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chemeClr val="bg2">
                    <a:lumMod val="25000"/>
                  </a:schemeClr>
                </a:solidFill>
              </a:rPr>
              <a:t>Motivation - Objectives - Hypotheses - Methods  - </a:t>
            </a:r>
            <a:r>
              <a:rPr lang="en-US" sz="1100" b="1" dirty="0">
                <a:solidFill>
                  <a:schemeClr val="bg2">
                    <a:lumMod val="25000"/>
                  </a:schemeClr>
                </a:solidFill>
              </a:rPr>
              <a:t>Results</a:t>
            </a:r>
            <a:r>
              <a:rPr lang="en-US" sz="1100" dirty="0">
                <a:solidFill>
                  <a:schemeClr val="bg2">
                    <a:lumMod val="25000"/>
                  </a:schemeClr>
                </a:solidFill>
              </a:rPr>
              <a:t> - Discussion - Conclusion</a:t>
            </a:r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114881026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F8D955-0308-6B45-A93C-55D8D69384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ults – Cow Manure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CB338516-0E54-9445-AF72-1226BB54454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41586873"/>
              </p:ext>
            </p:extLst>
          </p:nvPr>
        </p:nvGraphicFramePr>
        <p:xfrm>
          <a:off x="179512" y="1004400"/>
          <a:ext cx="8330184" cy="54489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BD015A57-485E-054C-A22C-0C4DF89DCCBE}"/>
              </a:ext>
            </a:extLst>
          </p:cNvPr>
          <p:cNvSpPr txBox="1"/>
          <p:nvPr/>
        </p:nvSpPr>
        <p:spPr>
          <a:xfrm>
            <a:off x="510369" y="6453336"/>
            <a:ext cx="501488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chemeClr val="bg2">
                    <a:lumMod val="25000"/>
                  </a:schemeClr>
                </a:solidFill>
              </a:rPr>
              <a:t>Motivation - Objectives - Hypotheses - Methods  - </a:t>
            </a:r>
            <a:r>
              <a:rPr lang="en-US" sz="1100" b="1" dirty="0">
                <a:solidFill>
                  <a:schemeClr val="bg2">
                    <a:lumMod val="25000"/>
                  </a:schemeClr>
                </a:solidFill>
              </a:rPr>
              <a:t>Results</a:t>
            </a:r>
            <a:r>
              <a:rPr lang="en-US" sz="1100" dirty="0">
                <a:solidFill>
                  <a:schemeClr val="bg2">
                    <a:lumMod val="25000"/>
                  </a:schemeClr>
                </a:solidFill>
              </a:rPr>
              <a:t> - Discussion - Conclusion</a:t>
            </a:r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419931882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F8D955-0308-6B45-A93C-55D8D69384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ults – Fermentation Residues</a:t>
            </a:r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BE5DBB52-49AC-3B4B-A71C-CF3CAEE7B3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35400696"/>
              </p:ext>
            </p:extLst>
          </p:nvPr>
        </p:nvGraphicFramePr>
        <p:xfrm>
          <a:off x="251520" y="980728"/>
          <a:ext cx="8402192" cy="54726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757E39D6-651D-F944-95BE-CE2503936213}"/>
              </a:ext>
            </a:extLst>
          </p:cNvPr>
          <p:cNvSpPr txBox="1"/>
          <p:nvPr/>
        </p:nvSpPr>
        <p:spPr>
          <a:xfrm>
            <a:off x="510369" y="6453336"/>
            <a:ext cx="501488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chemeClr val="bg2">
                    <a:lumMod val="25000"/>
                  </a:schemeClr>
                </a:solidFill>
              </a:rPr>
              <a:t>Motivation - Objectives - Hypotheses - Methods  - </a:t>
            </a:r>
            <a:r>
              <a:rPr lang="en-US" sz="1100" b="1" dirty="0">
                <a:solidFill>
                  <a:schemeClr val="bg2">
                    <a:lumMod val="25000"/>
                  </a:schemeClr>
                </a:solidFill>
              </a:rPr>
              <a:t>Results</a:t>
            </a:r>
            <a:r>
              <a:rPr lang="en-US" sz="1100" dirty="0">
                <a:solidFill>
                  <a:schemeClr val="bg2">
                    <a:lumMod val="25000"/>
                  </a:schemeClr>
                </a:solidFill>
              </a:rPr>
              <a:t> - Discussion - Conclusion</a:t>
            </a:r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419503609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n5jOIkbkq3Gm0R7D0d9g"/>
</p:tagLst>
</file>

<file path=ppt/theme/theme1.xml><?xml version="1.0" encoding="utf-8"?>
<a:theme xmlns:a="http://schemas.openxmlformats.org/drawingml/2006/main" name="IWF Deutsch">
  <a:themeElements>
    <a:clrScheme name="Benutzerdefiniert 1">
      <a:dk1>
        <a:srgbClr val="000000"/>
      </a:dk1>
      <a:lt1>
        <a:srgbClr val="FFFFFF"/>
      </a:lt1>
      <a:dk2>
        <a:srgbClr val="333333"/>
      </a:dk2>
      <a:lt2>
        <a:srgbClr val="EAEAEA"/>
      </a:lt2>
      <a:accent1>
        <a:srgbClr val="000000"/>
      </a:accent1>
      <a:accent2>
        <a:srgbClr val="C50E1F"/>
      </a:accent2>
      <a:accent3>
        <a:srgbClr val="10253F"/>
      </a:accent3>
      <a:accent4>
        <a:srgbClr val="177191"/>
      </a:accent4>
      <a:accent5>
        <a:srgbClr val="E7EEF2"/>
      </a:accent5>
      <a:accent6>
        <a:srgbClr val="000000"/>
      </a:accent6>
      <a:hlink>
        <a:srgbClr val="80B6DA"/>
      </a:hlink>
      <a:folHlink>
        <a:srgbClr val="92D050"/>
      </a:folHlink>
    </a:clrScheme>
    <a:fontScheme name="IWF Montagetechnik und Fabrikbetrieb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75000"/>
          </a:schemeClr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{450A1E35-6F85-E64E-97A5-DA9514E2F880}tf16401378</Template>
  <TotalTime>15866</TotalTime>
  <Words>1221</Words>
  <Application>Microsoft Macintosh PowerPoint</Application>
  <PresentationFormat>On-screen Show (4:3)</PresentationFormat>
  <Paragraphs>248</Paragraphs>
  <Slides>23</Slides>
  <Notes>14</Notes>
  <HiddenSlides>0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31" baseType="lpstr">
      <vt:lpstr>Calibri</vt:lpstr>
      <vt:lpstr>Cambria Math</vt:lpstr>
      <vt:lpstr>Arial</vt:lpstr>
      <vt:lpstr>Wingdings</vt:lpstr>
      <vt:lpstr>Symbol</vt:lpstr>
      <vt:lpstr>Wingdings 3</vt:lpstr>
      <vt:lpstr>Times New Roman</vt:lpstr>
      <vt:lpstr>IWF Deutsch</vt:lpstr>
      <vt:lpstr>Biogas Potential of the Inocula Sewage Sludge, Cow Manure, and Fermentation Residues  – Investigation of Varying Pre-Treatment and Process Options</vt:lpstr>
      <vt:lpstr>Outline</vt:lpstr>
      <vt:lpstr>Motivation</vt:lpstr>
      <vt:lpstr>Objectives</vt:lpstr>
      <vt:lpstr>Hypotheses</vt:lpstr>
      <vt:lpstr>Methods</vt:lpstr>
      <vt:lpstr>Results – Sewage Sludge</vt:lpstr>
      <vt:lpstr>Results – Cow Manure</vt:lpstr>
      <vt:lpstr>Results – Fermentation Residues</vt:lpstr>
      <vt:lpstr>Results – Overall Comparison</vt:lpstr>
      <vt:lpstr>Discussion</vt:lpstr>
      <vt:lpstr>Discussion</vt:lpstr>
      <vt:lpstr>Discussion – Practicability for Vietnam</vt:lpstr>
      <vt:lpstr>Conclusion</vt:lpstr>
      <vt:lpstr>References</vt:lpstr>
      <vt:lpstr>References</vt:lpstr>
      <vt:lpstr>PowerPoint Presentation</vt:lpstr>
      <vt:lpstr>Additional Slides – Volume Calculation </vt:lpstr>
      <vt:lpstr>Additional Slides – Limitations</vt:lpstr>
      <vt:lpstr>Additional Slides – oDS and C/N Ratios</vt:lpstr>
      <vt:lpstr>Additional Slides – Corrected Volumes</vt:lpstr>
      <vt:lpstr>Additional Slides – Material </vt:lpstr>
      <vt:lpstr>Additional Slides – Results</vt:lpstr>
    </vt:vector>
  </TitlesOfParts>
  <Company>Technische Universität Berlin - FG Abfallwirtschaft</Company>
  <LinksUpToDate>false</LinksUpToDate>
  <SharedDoc>false</SharedDoc>
  <HyperlinksChanged>false</HyperlinksChanged>
  <AppVersion>16.0013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isuelle Darstellung von Präsentationen</dc:title>
  <dc:creator>Maximilian Ueberschaar</dc:creator>
  <cp:lastModifiedBy>Microsoft Office User</cp:lastModifiedBy>
  <cp:revision>955</cp:revision>
  <cp:lastPrinted>2018-07-31T01:38:04Z</cp:lastPrinted>
  <dcterms:created xsi:type="dcterms:W3CDTF">2008-01-16T10:56:53Z</dcterms:created>
  <dcterms:modified xsi:type="dcterms:W3CDTF">2018-07-31T02:02:44Z</dcterms:modified>
</cp:coreProperties>
</file>